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sldIdLst>
    <p:sldId id="319" r:id="rId2"/>
    <p:sldId id="300" r:id="rId3"/>
    <p:sldId id="312" r:id="rId4"/>
    <p:sldId id="315" r:id="rId5"/>
    <p:sldId id="313" r:id="rId6"/>
    <p:sldId id="314" r:id="rId7"/>
    <p:sldId id="316" r:id="rId8"/>
    <p:sldId id="317" r:id="rId9"/>
    <p:sldId id="318" r:id="rId10"/>
  </p:sldIdLst>
  <p:sldSz cx="9906000" cy="6858000" type="A4"/>
  <p:notesSz cx="6858000" cy="9144000"/>
  <p:custDataLst>
    <p:tags r:id="rId12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120" userDrawn="1">
          <p15:clr>
            <a:srgbClr val="A4A3A4"/>
          </p15:clr>
        </p15:guide>
        <p15:guide id="3" pos="5819" userDrawn="1">
          <p15:clr>
            <a:srgbClr val="A4A3A4"/>
          </p15:clr>
        </p15:guide>
        <p15:guide id="4" pos="421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n_mush@outlook.jp" initials="m" lastIdx="4" clrIdx="0">
    <p:extLst>
      <p:ext uri="{19B8F6BF-5375-455C-9EA6-DF929625EA0E}">
        <p15:presenceInfo xmlns:p15="http://schemas.microsoft.com/office/powerpoint/2012/main" userId="a73b006a0e175d1e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41A30"/>
    <a:srgbClr val="002060"/>
    <a:srgbClr val="101841"/>
    <a:srgbClr val="CFD8DC"/>
    <a:srgbClr val="ECEFF1"/>
    <a:srgbClr val="212121"/>
    <a:srgbClr val="263238"/>
    <a:srgbClr val="757575"/>
    <a:srgbClr val="FAFAFA"/>
    <a:srgbClr val="455A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スタイル (淡色)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150" autoAdjust="0"/>
    <p:restoredTop sz="94660"/>
  </p:normalViewPr>
  <p:slideViewPr>
    <p:cSldViewPr snapToGrid="0" showGuides="1">
      <p:cViewPr varScale="1">
        <p:scale>
          <a:sx n="83" d="100"/>
          <a:sy n="83" d="100"/>
        </p:scale>
        <p:origin x="1992" y="56"/>
      </p:cViewPr>
      <p:guideLst>
        <p:guide orient="horz" pos="2160"/>
        <p:guide pos="3120"/>
        <p:guide pos="5819"/>
        <p:guide pos="42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18" Type="http://schemas.microsoft.com/office/2016/11/relationships/changesInfo" Target="changesInfos/changesInfo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kagetsu@outlook.jp" userId="5816677a808bd126" providerId="LiveId" clId="{737C5368-2C7A-4ADA-B786-C27D2161D07A}"/>
    <pc:docChg chg="custSel addSld modSld modSection">
      <pc:chgData name="rkagetsu@outlook.jp" userId="5816677a808bd126" providerId="LiveId" clId="{737C5368-2C7A-4ADA-B786-C27D2161D07A}" dt="2020-06-25T06:40:15.156" v="138" actId="164"/>
      <pc:docMkLst>
        <pc:docMk/>
      </pc:docMkLst>
      <pc:sldChg chg="addSp delSp modSp">
        <pc:chgData name="rkagetsu@outlook.jp" userId="5816677a808bd126" providerId="LiveId" clId="{737C5368-2C7A-4ADA-B786-C27D2161D07A}" dt="2020-06-25T06:39:30.964" v="127" actId="165"/>
        <pc:sldMkLst>
          <pc:docMk/>
          <pc:sldMk cId="4154796048" sldId="336"/>
        </pc:sldMkLst>
        <pc:spChg chg="mod">
          <ac:chgData name="rkagetsu@outlook.jp" userId="5816677a808bd126" providerId="LiveId" clId="{737C5368-2C7A-4ADA-B786-C27D2161D07A}" dt="2020-06-25T06:39:30.964" v="127" actId="165"/>
          <ac:spMkLst>
            <pc:docMk/>
            <pc:sldMk cId="4154796048" sldId="336"/>
            <ac:spMk id="19" creationId="{ADFC7F7B-B6A6-485E-AF7C-A2F0099F89F2}"/>
          </ac:spMkLst>
        </pc:spChg>
        <pc:spChg chg="mod topLvl">
          <ac:chgData name="rkagetsu@outlook.jp" userId="5816677a808bd126" providerId="LiveId" clId="{737C5368-2C7A-4ADA-B786-C27D2161D07A}" dt="2020-06-25T06:39:30.964" v="127" actId="165"/>
          <ac:spMkLst>
            <pc:docMk/>
            <pc:sldMk cId="4154796048" sldId="336"/>
            <ac:spMk id="23" creationId="{8FACAE3C-4CDF-4FAF-A11C-0723ED816DDD}"/>
          </ac:spMkLst>
        </pc:spChg>
        <pc:spChg chg="mod">
          <ac:chgData name="rkagetsu@outlook.jp" userId="5816677a808bd126" providerId="LiveId" clId="{737C5368-2C7A-4ADA-B786-C27D2161D07A}" dt="2020-06-25T06:39:30.964" v="127" actId="165"/>
          <ac:spMkLst>
            <pc:docMk/>
            <pc:sldMk cId="4154796048" sldId="336"/>
            <ac:spMk id="26" creationId="{E86611CF-7EE7-402F-B99D-7E2CBF4A8538}"/>
          </ac:spMkLst>
        </pc:spChg>
        <pc:spChg chg="mod">
          <ac:chgData name="rkagetsu@outlook.jp" userId="5816677a808bd126" providerId="LiveId" clId="{737C5368-2C7A-4ADA-B786-C27D2161D07A}" dt="2020-06-25T06:39:30.964" v="127" actId="165"/>
          <ac:spMkLst>
            <pc:docMk/>
            <pc:sldMk cId="4154796048" sldId="336"/>
            <ac:spMk id="28" creationId="{325A7476-6258-43BA-ACE8-C8720510C9CB}"/>
          </ac:spMkLst>
        </pc:spChg>
        <pc:spChg chg="mod">
          <ac:chgData name="rkagetsu@outlook.jp" userId="5816677a808bd126" providerId="LiveId" clId="{737C5368-2C7A-4ADA-B786-C27D2161D07A}" dt="2020-06-25T06:39:30.964" v="127" actId="165"/>
          <ac:spMkLst>
            <pc:docMk/>
            <pc:sldMk cId="4154796048" sldId="336"/>
            <ac:spMk id="29" creationId="{066CA4C7-77C6-42C6-BB49-8914468A1E74}"/>
          </ac:spMkLst>
        </pc:spChg>
        <pc:spChg chg="mod topLvl">
          <ac:chgData name="rkagetsu@outlook.jp" userId="5816677a808bd126" providerId="LiveId" clId="{737C5368-2C7A-4ADA-B786-C27D2161D07A}" dt="2020-06-25T06:39:30.964" v="127" actId="165"/>
          <ac:spMkLst>
            <pc:docMk/>
            <pc:sldMk cId="4154796048" sldId="336"/>
            <ac:spMk id="30" creationId="{0AE773D7-DEC0-498C-977C-D88302023050}"/>
          </ac:spMkLst>
        </pc:spChg>
        <pc:spChg chg="mod topLvl">
          <ac:chgData name="rkagetsu@outlook.jp" userId="5816677a808bd126" providerId="LiveId" clId="{737C5368-2C7A-4ADA-B786-C27D2161D07A}" dt="2020-06-25T06:39:30.964" v="127" actId="165"/>
          <ac:spMkLst>
            <pc:docMk/>
            <pc:sldMk cId="4154796048" sldId="336"/>
            <ac:spMk id="31" creationId="{26488DD5-C49C-424E-8539-871EEE7565CD}"/>
          </ac:spMkLst>
        </pc:spChg>
        <pc:grpChg chg="mod topLvl">
          <ac:chgData name="rkagetsu@outlook.jp" userId="5816677a808bd126" providerId="LiveId" clId="{737C5368-2C7A-4ADA-B786-C27D2161D07A}" dt="2020-06-25T06:39:30.964" v="127" actId="165"/>
          <ac:grpSpMkLst>
            <pc:docMk/>
            <pc:sldMk cId="4154796048" sldId="336"/>
            <ac:grpSpMk id="24" creationId="{9704DDA6-9E47-4E13-9A95-AFCC19E25490}"/>
          </ac:grpSpMkLst>
        </pc:grpChg>
        <pc:grpChg chg="mod topLvl">
          <ac:chgData name="rkagetsu@outlook.jp" userId="5816677a808bd126" providerId="LiveId" clId="{737C5368-2C7A-4ADA-B786-C27D2161D07A}" dt="2020-06-25T06:39:30.964" v="127" actId="165"/>
          <ac:grpSpMkLst>
            <pc:docMk/>
            <pc:sldMk cId="4154796048" sldId="336"/>
            <ac:grpSpMk id="27" creationId="{0CF16A7F-9C74-4DFC-96DE-BCFD9EE14A53}"/>
          </ac:grpSpMkLst>
        </pc:grpChg>
        <pc:grpChg chg="add del mod">
          <ac:chgData name="rkagetsu@outlook.jp" userId="5816677a808bd126" providerId="LiveId" clId="{737C5368-2C7A-4ADA-B786-C27D2161D07A}" dt="2020-06-25T06:39:30.964" v="127" actId="165"/>
          <ac:grpSpMkLst>
            <pc:docMk/>
            <pc:sldMk cId="4154796048" sldId="336"/>
            <ac:grpSpMk id="32" creationId="{66FDD1DB-84F6-49F5-80E4-294F907E3234}"/>
          </ac:grpSpMkLst>
        </pc:grpChg>
        <pc:grpChg chg="mod topLvl">
          <ac:chgData name="rkagetsu@outlook.jp" userId="5816677a808bd126" providerId="LiveId" clId="{737C5368-2C7A-4ADA-B786-C27D2161D07A}" dt="2020-06-25T06:39:30.964" v="127" actId="165"/>
          <ac:grpSpMkLst>
            <pc:docMk/>
            <pc:sldMk cId="4154796048" sldId="336"/>
            <ac:grpSpMk id="34" creationId="{CE0701EE-AB14-43FF-AE85-9EFE259F6163}"/>
          </ac:grpSpMkLst>
        </pc:grpChg>
        <pc:picChg chg="mod topLvl">
          <ac:chgData name="rkagetsu@outlook.jp" userId="5816677a808bd126" providerId="LiveId" clId="{737C5368-2C7A-4ADA-B786-C27D2161D07A}" dt="2020-06-25T06:39:30.964" v="127" actId="165"/>
          <ac:picMkLst>
            <pc:docMk/>
            <pc:sldMk cId="4154796048" sldId="336"/>
            <ac:picMk id="22" creationId="{CE3163F5-7855-4201-8895-C02FE1060F6F}"/>
          </ac:picMkLst>
        </pc:picChg>
        <pc:picChg chg="mod">
          <ac:chgData name="rkagetsu@outlook.jp" userId="5816677a808bd126" providerId="LiveId" clId="{737C5368-2C7A-4ADA-B786-C27D2161D07A}" dt="2020-06-25T06:39:30.964" v="127" actId="165"/>
          <ac:picMkLst>
            <pc:docMk/>
            <pc:sldMk cId="4154796048" sldId="336"/>
            <ac:picMk id="25" creationId="{06CB8577-6638-44D5-9BFB-A13A1083B968}"/>
          </ac:picMkLst>
        </pc:picChg>
        <pc:cxnChg chg="mod">
          <ac:chgData name="rkagetsu@outlook.jp" userId="5816677a808bd126" providerId="LiveId" clId="{737C5368-2C7A-4ADA-B786-C27D2161D07A}" dt="2020-06-25T06:39:30.964" v="127" actId="165"/>
          <ac:cxnSpMkLst>
            <pc:docMk/>
            <pc:sldMk cId="4154796048" sldId="336"/>
            <ac:cxnSpMk id="33" creationId="{E091C1C0-4A5B-4446-BBD2-4B746A314725}"/>
          </ac:cxnSpMkLst>
        </pc:cxnChg>
      </pc:sldChg>
      <pc:sldChg chg="addSp delSp modSp new mod">
        <pc:chgData name="rkagetsu@outlook.jp" userId="5816677a808bd126" providerId="LiveId" clId="{737C5368-2C7A-4ADA-B786-C27D2161D07A}" dt="2020-06-25T06:40:15.156" v="138" actId="164"/>
        <pc:sldMkLst>
          <pc:docMk/>
          <pc:sldMk cId="119635067" sldId="388"/>
        </pc:sldMkLst>
        <pc:spChg chg="del">
          <ac:chgData name="rkagetsu@outlook.jp" userId="5816677a808bd126" providerId="LiveId" clId="{737C5368-2C7A-4ADA-B786-C27D2161D07A}" dt="2020-06-25T06:31:37.658" v="5" actId="478"/>
          <ac:spMkLst>
            <pc:docMk/>
            <pc:sldMk cId="119635067" sldId="388"/>
            <ac:spMk id="2" creationId="{7B003A2A-E578-4624-85F5-60E19DB79D9F}"/>
          </ac:spMkLst>
        </pc:spChg>
        <pc:spChg chg="del">
          <ac:chgData name="rkagetsu@outlook.jp" userId="5816677a808bd126" providerId="LiveId" clId="{737C5368-2C7A-4ADA-B786-C27D2161D07A}" dt="2020-06-25T06:31:40.557" v="6" actId="478"/>
          <ac:spMkLst>
            <pc:docMk/>
            <pc:sldMk cId="119635067" sldId="388"/>
            <ac:spMk id="3" creationId="{E98F4FB7-A44A-49E5-9844-565724E31EAF}"/>
          </ac:spMkLst>
        </pc:spChg>
        <pc:spChg chg="del">
          <ac:chgData name="rkagetsu@outlook.jp" userId="5816677a808bd126" providerId="LiveId" clId="{737C5368-2C7A-4ADA-B786-C27D2161D07A}" dt="2020-06-25T06:31:37.658" v="5" actId="478"/>
          <ac:spMkLst>
            <pc:docMk/>
            <pc:sldMk cId="119635067" sldId="388"/>
            <ac:spMk id="4" creationId="{3C0D686A-52E4-4D0E-B46E-500E4FAD5CF6}"/>
          </ac:spMkLst>
        </pc:spChg>
        <pc:spChg chg="del">
          <ac:chgData name="rkagetsu@outlook.jp" userId="5816677a808bd126" providerId="LiveId" clId="{737C5368-2C7A-4ADA-B786-C27D2161D07A}" dt="2020-06-25T06:31:37.658" v="5" actId="478"/>
          <ac:spMkLst>
            <pc:docMk/>
            <pc:sldMk cId="119635067" sldId="388"/>
            <ac:spMk id="6" creationId="{8546CC08-7ED0-460D-9736-B5870322A6F5}"/>
          </ac:spMkLst>
        </pc:spChg>
        <pc:spChg chg="add mod">
          <ac:chgData name="rkagetsu@outlook.jp" userId="5816677a808bd126" providerId="LiveId" clId="{737C5368-2C7A-4ADA-B786-C27D2161D07A}" dt="2020-06-25T06:35:33.637" v="89" actId="164"/>
          <ac:spMkLst>
            <pc:docMk/>
            <pc:sldMk cId="119635067" sldId="388"/>
            <ac:spMk id="8" creationId="{CEF0CB1A-46CA-4274-82CA-D2D51F9B9709}"/>
          </ac:spMkLst>
        </pc:spChg>
        <pc:spChg chg="add mod ord">
          <ac:chgData name="rkagetsu@outlook.jp" userId="5816677a808bd126" providerId="LiveId" clId="{737C5368-2C7A-4ADA-B786-C27D2161D07A}" dt="2020-06-25T06:35:24.818" v="88" actId="164"/>
          <ac:spMkLst>
            <pc:docMk/>
            <pc:sldMk cId="119635067" sldId="388"/>
            <ac:spMk id="9" creationId="{8A7A3110-07B4-4B1C-B74B-034C4B44E1A2}"/>
          </ac:spMkLst>
        </pc:spChg>
        <pc:spChg chg="add mod">
          <ac:chgData name="rkagetsu@outlook.jp" userId="5816677a808bd126" providerId="LiveId" clId="{737C5368-2C7A-4ADA-B786-C27D2161D07A}" dt="2020-06-25T06:35:24.818" v="88" actId="164"/>
          <ac:spMkLst>
            <pc:docMk/>
            <pc:sldMk cId="119635067" sldId="388"/>
            <ac:spMk id="10" creationId="{C63BB4BB-FD0C-47D6-8B52-BBD0FC63BA13}"/>
          </ac:spMkLst>
        </pc:spChg>
        <pc:spChg chg="del mod">
          <ac:chgData name="rkagetsu@outlook.jp" userId="5816677a808bd126" providerId="LiveId" clId="{737C5368-2C7A-4ADA-B786-C27D2161D07A}" dt="2020-06-25T06:39:48.702" v="130" actId="478"/>
          <ac:spMkLst>
            <pc:docMk/>
            <pc:sldMk cId="119635067" sldId="388"/>
            <ac:spMk id="15" creationId="{7F257159-0E17-4FA2-8611-AD28BDCAB8B7}"/>
          </ac:spMkLst>
        </pc:spChg>
        <pc:spChg chg="mod">
          <ac:chgData name="rkagetsu@outlook.jp" userId="5816677a808bd126" providerId="LiveId" clId="{737C5368-2C7A-4ADA-B786-C27D2161D07A}" dt="2020-06-25T06:39:43.104" v="128"/>
          <ac:spMkLst>
            <pc:docMk/>
            <pc:sldMk cId="119635067" sldId="388"/>
            <ac:spMk id="17" creationId="{7F983748-BCBE-4B9E-8B8C-7DAF03151BBC}"/>
          </ac:spMkLst>
        </pc:spChg>
        <pc:spChg chg="mod">
          <ac:chgData name="rkagetsu@outlook.jp" userId="5816677a808bd126" providerId="LiveId" clId="{737C5368-2C7A-4ADA-B786-C27D2161D07A}" dt="2020-06-25T06:39:43.104" v="128"/>
          <ac:spMkLst>
            <pc:docMk/>
            <pc:sldMk cId="119635067" sldId="388"/>
            <ac:spMk id="18" creationId="{D41FFE77-96FB-49E8-AE0A-81D6324DDF0E}"/>
          </ac:spMkLst>
        </pc:spChg>
        <pc:spChg chg="mod">
          <ac:chgData name="rkagetsu@outlook.jp" userId="5816677a808bd126" providerId="LiveId" clId="{737C5368-2C7A-4ADA-B786-C27D2161D07A}" dt="2020-06-25T06:39:43.104" v="128"/>
          <ac:spMkLst>
            <pc:docMk/>
            <pc:sldMk cId="119635067" sldId="388"/>
            <ac:spMk id="20" creationId="{9B6FAEE9-CEB5-4069-B615-C720FE05AB04}"/>
          </ac:spMkLst>
        </pc:spChg>
        <pc:spChg chg="mod">
          <ac:chgData name="rkagetsu@outlook.jp" userId="5816677a808bd126" providerId="LiveId" clId="{737C5368-2C7A-4ADA-B786-C27D2161D07A}" dt="2020-06-25T06:39:51.522" v="131"/>
          <ac:spMkLst>
            <pc:docMk/>
            <pc:sldMk cId="119635067" sldId="388"/>
            <ac:spMk id="25" creationId="{A068878D-1545-4CF8-A798-BD09F6157C30}"/>
          </ac:spMkLst>
        </pc:spChg>
        <pc:spChg chg="mod">
          <ac:chgData name="rkagetsu@outlook.jp" userId="5816677a808bd126" providerId="LiveId" clId="{737C5368-2C7A-4ADA-B786-C27D2161D07A}" dt="2020-06-25T06:39:51.522" v="131"/>
          <ac:spMkLst>
            <pc:docMk/>
            <pc:sldMk cId="119635067" sldId="388"/>
            <ac:spMk id="27" creationId="{EAEFADDC-FCAA-47BB-BECF-946E57F65D44}"/>
          </ac:spMkLst>
        </pc:spChg>
        <pc:spChg chg="mod">
          <ac:chgData name="rkagetsu@outlook.jp" userId="5816677a808bd126" providerId="LiveId" clId="{737C5368-2C7A-4ADA-B786-C27D2161D07A}" dt="2020-06-25T06:39:51.522" v="131"/>
          <ac:spMkLst>
            <pc:docMk/>
            <pc:sldMk cId="119635067" sldId="388"/>
            <ac:spMk id="28" creationId="{E0F56E22-9316-4F8D-9234-BAE00639C0D1}"/>
          </ac:spMkLst>
        </pc:spChg>
        <pc:spChg chg="mod">
          <ac:chgData name="rkagetsu@outlook.jp" userId="5816677a808bd126" providerId="LiveId" clId="{737C5368-2C7A-4ADA-B786-C27D2161D07A}" dt="2020-06-25T06:39:51.522" v="131"/>
          <ac:spMkLst>
            <pc:docMk/>
            <pc:sldMk cId="119635067" sldId="388"/>
            <ac:spMk id="30" creationId="{291E75DD-B096-4D1D-A74F-F367FBB4B80B}"/>
          </ac:spMkLst>
        </pc:spChg>
        <pc:spChg chg="add mod">
          <ac:chgData name="rkagetsu@outlook.jp" userId="5816677a808bd126" providerId="LiveId" clId="{737C5368-2C7A-4ADA-B786-C27D2161D07A}" dt="2020-06-25T06:40:15.156" v="138" actId="164"/>
          <ac:spMkLst>
            <pc:docMk/>
            <pc:sldMk cId="119635067" sldId="388"/>
            <ac:spMk id="32" creationId="{F403B824-4585-43E8-A819-545ACEEA2CAB}"/>
          </ac:spMkLst>
        </pc:spChg>
        <pc:grpChg chg="add mod">
          <ac:chgData name="rkagetsu@outlook.jp" userId="5816677a808bd126" providerId="LiveId" clId="{737C5368-2C7A-4ADA-B786-C27D2161D07A}" dt="2020-06-25T06:35:33.637" v="89" actId="164"/>
          <ac:grpSpMkLst>
            <pc:docMk/>
            <pc:sldMk cId="119635067" sldId="388"/>
            <ac:grpSpMk id="11" creationId="{09D2D6EB-8A73-4B88-8257-34C5940CD764}"/>
          </ac:grpSpMkLst>
        </pc:grpChg>
        <pc:grpChg chg="add mod">
          <ac:chgData name="rkagetsu@outlook.jp" userId="5816677a808bd126" providerId="LiveId" clId="{737C5368-2C7A-4ADA-B786-C27D2161D07A}" dt="2020-06-25T06:35:33.637" v="89" actId="164"/>
          <ac:grpSpMkLst>
            <pc:docMk/>
            <pc:sldMk cId="119635067" sldId="388"/>
            <ac:grpSpMk id="12" creationId="{5CFD566D-1513-412E-ACC6-D8C1C6BA4B82}"/>
          </ac:grpSpMkLst>
        </pc:grpChg>
        <pc:grpChg chg="add del mod">
          <ac:chgData name="rkagetsu@outlook.jp" userId="5816677a808bd126" providerId="LiveId" clId="{737C5368-2C7A-4ADA-B786-C27D2161D07A}" dt="2020-06-25T06:39:48.702" v="130" actId="478"/>
          <ac:grpSpMkLst>
            <pc:docMk/>
            <pc:sldMk cId="119635067" sldId="388"/>
            <ac:grpSpMk id="13" creationId="{5A2E917D-2F71-4EA2-AED5-71C4C09E0917}"/>
          </ac:grpSpMkLst>
        </pc:grpChg>
        <pc:grpChg chg="add mod">
          <ac:chgData name="rkagetsu@outlook.jp" userId="5816677a808bd126" providerId="LiveId" clId="{737C5368-2C7A-4ADA-B786-C27D2161D07A}" dt="2020-06-25T06:39:44.750" v="129" actId="164"/>
          <ac:grpSpMkLst>
            <pc:docMk/>
            <pc:sldMk cId="119635067" sldId="388"/>
            <ac:grpSpMk id="16" creationId="{7F8C4827-7B92-4DB3-B784-A061AA227321}"/>
          </ac:grpSpMkLst>
        </pc:grpChg>
        <pc:grpChg chg="add mod">
          <ac:chgData name="rkagetsu@outlook.jp" userId="5816677a808bd126" providerId="LiveId" clId="{737C5368-2C7A-4ADA-B786-C27D2161D07A}" dt="2020-06-25T06:39:44.750" v="129" actId="164"/>
          <ac:grpSpMkLst>
            <pc:docMk/>
            <pc:sldMk cId="119635067" sldId="388"/>
            <ac:grpSpMk id="19" creationId="{31EDBD55-F5BB-4A41-9D4E-6F42FA13BC81}"/>
          </ac:grpSpMkLst>
        </pc:grpChg>
        <pc:grpChg chg="add mod">
          <ac:chgData name="rkagetsu@outlook.jp" userId="5816677a808bd126" providerId="LiveId" clId="{737C5368-2C7A-4ADA-B786-C27D2161D07A}" dt="2020-06-25T06:40:15.156" v="138" actId="164"/>
          <ac:grpSpMkLst>
            <pc:docMk/>
            <pc:sldMk cId="119635067" sldId="388"/>
            <ac:grpSpMk id="22" creationId="{BDE37792-A09B-476F-B527-1538CFF1F486}"/>
          </ac:grpSpMkLst>
        </pc:grpChg>
        <pc:grpChg chg="add del mod">
          <ac:chgData name="rkagetsu@outlook.jp" userId="5816677a808bd126" providerId="LiveId" clId="{737C5368-2C7A-4ADA-B786-C27D2161D07A}" dt="2020-06-25T06:39:52.456" v="132"/>
          <ac:grpSpMkLst>
            <pc:docMk/>
            <pc:sldMk cId="119635067" sldId="388"/>
            <ac:grpSpMk id="23" creationId="{6F3165F4-7752-49C3-A536-4D314329C999}"/>
          </ac:grpSpMkLst>
        </pc:grpChg>
        <pc:grpChg chg="add del mod">
          <ac:chgData name="rkagetsu@outlook.jp" userId="5816677a808bd126" providerId="LiveId" clId="{737C5368-2C7A-4ADA-B786-C27D2161D07A}" dt="2020-06-25T06:39:52.456" v="132"/>
          <ac:grpSpMkLst>
            <pc:docMk/>
            <pc:sldMk cId="119635067" sldId="388"/>
            <ac:grpSpMk id="26" creationId="{9DD91C7D-7A51-434D-A96E-3C60F4A6D644}"/>
          </ac:grpSpMkLst>
        </pc:grpChg>
        <pc:grpChg chg="add del mod">
          <ac:chgData name="rkagetsu@outlook.jp" userId="5816677a808bd126" providerId="LiveId" clId="{737C5368-2C7A-4ADA-B786-C27D2161D07A}" dt="2020-06-25T06:39:52.456" v="132"/>
          <ac:grpSpMkLst>
            <pc:docMk/>
            <pc:sldMk cId="119635067" sldId="388"/>
            <ac:grpSpMk id="29" creationId="{9C5A857F-E68B-4DCC-A1B9-63B299B8C633}"/>
          </ac:grpSpMkLst>
        </pc:grpChg>
        <pc:grpChg chg="add mod">
          <ac:chgData name="rkagetsu@outlook.jp" userId="5816677a808bd126" providerId="LiveId" clId="{737C5368-2C7A-4ADA-B786-C27D2161D07A}" dt="2020-06-25T06:40:15.156" v="138" actId="164"/>
          <ac:grpSpMkLst>
            <pc:docMk/>
            <pc:sldMk cId="119635067" sldId="388"/>
            <ac:grpSpMk id="33" creationId="{FFDA03FD-6655-4D30-ADDD-9AC4D25A0EED}"/>
          </ac:grpSpMkLst>
        </pc:grpChg>
        <pc:picChg chg="add mod modCrop">
          <ac:chgData name="rkagetsu@outlook.jp" userId="5816677a808bd126" providerId="LiveId" clId="{737C5368-2C7A-4ADA-B786-C27D2161D07A}" dt="2020-06-25T06:35:33.637" v="89" actId="164"/>
          <ac:picMkLst>
            <pc:docMk/>
            <pc:sldMk cId="119635067" sldId="388"/>
            <ac:picMk id="7" creationId="{C088AA80-ECC3-4F0A-A848-0E5690D59E28}"/>
          </ac:picMkLst>
        </pc:picChg>
        <pc:picChg chg="mod">
          <ac:chgData name="rkagetsu@outlook.jp" userId="5816677a808bd126" providerId="LiveId" clId="{737C5368-2C7A-4ADA-B786-C27D2161D07A}" dt="2020-06-25T06:39:43.104" v="128"/>
          <ac:picMkLst>
            <pc:docMk/>
            <pc:sldMk cId="119635067" sldId="388"/>
            <ac:picMk id="14" creationId="{20596DF3-0BBE-48B9-A96F-144FA62C6602}"/>
          </ac:picMkLst>
        </pc:picChg>
        <pc:picChg chg="mod">
          <ac:chgData name="rkagetsu@outlook.jp" userId="5816677a808bd126" providerId="LiveId" clId="{737C5368-2C7A-4ADA-B786-C27D2161D07A}" dt="2020-06-25T06:39:51.522" v="131"/>
          <ac:picMkLst>
            <pc:docMk/>
            <pc:sldMk cId="119635067" sldId="388"/>
            <ac:picMk id="24" creationId="{EE56D937-EE9E-4B30-A90D-ECFBDCCFC7D4}"/>
          </ac:picMkLst>
        </pc:picChg>
        <pc:cxnChg chg="mod">
          <ac:chgData name="rkagetsu@outlook.jp" userId="5816677a808bd126" providerId="LiveId" clId="{737C5368-2C7A-4ADA-B786-C27D2161D07A}" dt="2020-06-25T06:39:43.104" v="128"/>
          <ac:cxnSpMkLst>
            <pc:docMk/>
            <pc:sldMk cId="119635067" sldId="388"/>
            <ac:cxnSpMk id="21" creationId="{8F04942B-068C-41DB-9677-28F8DD8AECB4}"/>
          </ac:cxnSpMkLst>
        </pc:cxnChg>
        <pc:cxnChg chg="mod">
          <ac:chgData name="rkagetsu@outlook.jp" userId="5816677a808bd126" providerId="LiveId" clId="{737C5368-2C7A-4ADA-B786-C27D2161D07A}" dt="2020-06-25T06:39:51.522" v="131"/>
          <ac:cxnSpMkLst>
            <pc:docMk/>
            <pc:sldMk cId="119635067" sldId="388"/>
            <ac:cxnSpMk id="31" creationId="{42293538-25D1-419B-9CB4-2203540208D2}"/>
          </ac:cxnSpMkLst>
        </pc:cxnChg>
      </pc:sldChg>
      <pc:sldChg chg="addSp delSp modSp new mod">
        <pc:chgData name="rkagetsu@outlook.jp" userId="5816677a808bd126" providerId="LiveId" clId="{737C5368-2C7A-4ADA-B786-C27D2161D07A}" dt="2020-06-25T06:38:58.637" v="126" actId="164"/>
        <pc:sldMkLst>
          <pc:docMk/>
          <pc:sldMk cId="3620994260" sldId="389"/>
        </pc:sldMkLst>
        <pc:spChg chg="del">
          <ac:chgData name="rkagetsu@outlook.jp" userId="5816677a808bd126" providerId="LiveId" clId="{737C5368-2C7A-4ADA-B786-C27D2161D07A}" dt="2020-06-25T06:36:33.800" v="91" actId="478"/>
          <ac:spMkLst>
            <pc:docMk/>
            <pc:sldMk cId="3620994260" sldId="389"/>
            <ac:spMk id="2" creationId="{7CF308E8-AEBB-45E0-B3EA-83BD8BCA3C97}"/>
          </ac:spMkLst>
        </pc:spChg>
        <pc:spChg chg="del">
          <ac:chgData name="rkagetsu@outlook.jp" userId="5816677a808bd126" providerId="LiveId" clId="{737C5368-2C7A-4ADA-B786-C27D2161D07A}" dt="2020-06-25T06:36:33.800" v="91" actId="478"/>
          <ac:spMkLst>
            <pc:docMk/>
            <pc:sldMk cId="3620994260" sldId="389"/>
            <ac:spMk id="3" creationId="{7EA96002-6B5B-4717-AD4F-BD33B6C3CCE4}"/>
          </ac:spMkLst>
        </pc:spChg>
        <pc:spChg chg="del">
          <ac:chgData name="rkagetsu@outlook.jp" userId="5816677a808bd126" providerId="LiveId" clId="{737C5368-2C7A-4ADA-B786-C27D2161D07A}" dt="2020-06-25T06:36:33.800" v="91" actId="478"/>
          <ac:spMkLst>
            <pc:docMk/>
            <pc:sldMk cId="3620994260" sldId="389"/>
            <ac:spMk id="4" creationId="{E31F2A84-F8E6-414B-9A69-944AD4C2F94F}"/>
          </ac:spMkLst>
        </pc:spChg>
        <pc:spChg chg="del">
          <ac:chgData name="rkagetsu@outlook.jp" userId="5816677a808bd126" providerId="LiveId" clId="{737C5368-2C7A-4ADA-B786-C27D2161D07A}" dt="2020-06-25T06:36:33.800" v="91" actId="478"/>
          <ac:spMkLst>
            <pc:docMk/>
            <pc:sldMk cId="3620994260" sldId="389"/>
            <ac:spMk id="5" creationId="{AE077121-FD4C-42A1-BFBD-45B98A4FDC7A}"/>
          </ac:spMkLst>
        </pc:spChg>
        <pc:spChg chg="del">
          <ac:chgData name="rkagetsu@outlook.jp" userId="5816677a808bd126" providerId="LiveId" clId="{737C5368-2C7A-4ADA-B786-C27D2161D07A}" dt="2020-06-25T06:36:33.800" v="91" actId="478"/>
          <ac:spMkLst>
            <pc:docMk/>
            <pc:sldMk cId="3620994260" sldId="389"/>
            <ac:spMk id="6" creationId="{EF8362C2-FB35-4697-99FE-6C2E89D08C8A}"/>
          </ac:spMkLst>
        </pc:spChg>
        <pc:spChg chg="add mod">
          <ac:chgData name="rkagetsu@outlook.jp" userId="5816677a808bd126" providerId="LiveId" clId="{737C5368-2C7A-4ADA-B786-C27D2161D07A}" dt="2020-06-25T06:37:27.329" v="101" actId="164"/>
          <ac:spMkLst>
            <pc:docMk/>
            <pc:sldMk cId="3620994260" sldId="389"/>
            <ac:spMk id="8" creationId="{907E874C-B838-4A84-8CEE-81F2F3E80DE7}"/>
          </ac:spMkLst>
        </pc:spChg>
        <pc:spChg chg="add mod">
          <ac:chgData name="rkagetsu@outlook.jp" userId="5816677a808bd126" providerId="LiveId" clId="{737C5368-2C7A-4ADA-B786-C27D2161D07A}" dt="2020-06-25T06:38:58.637" v="126" actId="164"/>
          <ac:spMkLst>
            <pc:docMk/>
            <pc:sldMk cId="3620994260" sldId="389"/>
            <ac:spMk id="11" creationId="{551CC257-548D-4B86-AA25-9E55EA13958B}"/>
          </ac:spMkLst>
        </pc:spChg>
        <pc:spChg chg="add del mod">
          <ac:chgData name="rkagetsu@outlook.jp" userId="5816677a808bd126" providerId="LiveId" clId="{737C5368-2C7A-4ADA-B786-C27D2161D07A}" dt="2020-06-25T06:38:36.613" v="120" actId="478"/>
          <ac:spMkLst>
            <pc:docMk/>
            <pc:sldMk cId="3620994260" sldId="389"/>
            <ac:spMk id="12" creationId="{1C289795-EC37-4336-807C-99E2843C032D}"/>
          </ac:spMkLst>
        </pc:spChg>
        <pc:spChg chg="add mod">
          <ac:chgData name="rkagetsu@outlook.jp" userId="5816677a808bd126" providerId="LiveId" clId="{737C5368-2C7A-4ADA-B786-C27D2161D07A}" dt="2020-06-25T06:38:58.637" v="126" actId="164"/>
          <ac:spMkLst>
            <pc:docMk/>
            <pc:sldMk cId="3620994260" sldId="389"/>
            <ac:spMk id="13" creationId="{15C1B67E-A44A-4B4E-8676-8E436EEABF1F}"/>
          </ac:spMkLst>
        </pc:spChg>
        <pc:grpChg chg="add mod">
          <ac:chgData name="rkagetsu@outlook.jp" userId="5816677a808bd126" providerId="LiveId" clId="{737C5368-2C7A-4ADA-B786-C27D2161D07A}" dt="2020-06-25T06:37:27.329" v="101" actId="164"/>
          <ac:grpSpMkLst>
            <pc:docMk/>
            <pc:sldMk cId="3620994260" sldId="389"/>
            <ac:grpSpMk id="9" creationId="{C45805D8-A6D4-4A36-BF30-F91009240AAD}"/>
          </ac:grpSpMkLst>
        </pc:grpChg>
        <pc:grpChg chg="add mod">
          <ac:chgData name="rkagetsu@outlook.jp" userId="5816677a808bd126" providerId="LiveId" clId="{737C5368-2C7A-4ADA-B786-C27D2161D07A}" dt="2020-06-25T06:38:58.637" v="126" actId="164"/>
          <ac:grpSpMkLst>
            <pc:docMk/>
            <pc:sldMk cId="3620994260" sldId="389"/>
            <ac:grpSpMk id="14" creationId="{1724AE0B-7769-42F4-A3BD-D3AA064A79B3}"/>
          </ac:grpSpMkLst>
        </pc:grpChg>
        <pc:picChg chg="add mod modCrop">
          <ac:chgData name="rkagetsu@outlook.jp" userId="5816677a808bd126" providerId="LiveId" clId="{737C5368-2C7A-4ADA-B786-C27D2161D07A}" dt="2020-06-25T06:37:27.329" v="101" actId="164"/>
          <ac:picMkLst>
            <pc:docMk/>
            <pc:sldMk cId="3620994260" sldId="389"/>
            <ac:picMk id="7" creationId="{3B4C9F7E-E755-4A3C-83EF-E31534F509E5}"/>
          </ac:picMkLst>
        </pc:picChg>
        <pc:picChg chg="add mod">
          <ac:chgData name="rkagetsu@outlook.jp" userId="5816677a808bd126" providerId="LiveId" clId="{737C5368-2C7A-4ADA-B786-C27D2161D07A}" dt="2020-06-25T06:38:58.637" v="126" actId="164"/>
          <ac:picMkLst>
            <pc:docMk/>
            <pc:sldMk cId="3620994260" sldId="389"/>
            <ac:picMk id="10" creationId="{237CAE41-0137-42F0-8A4B-CC0EA5A78E0D}"/>
          </ac:picMkLst>
        </pc:picChg>
      </pc:sldChg>
    </pc:docChg>
  </pc:docChgLst>
  <pc:docChgLst>
    <pc:chgData name="rkagetsu@outlook.jp" userId="5816677a808bd126" providerId="LiveId" clId="{D6330EF2-D074-46EF-99AB-EABFD02433F8}"/>
    <pc:docChg chg="custSel modSld">
      <pc:chgData name="rkagetsu@outlook.jp" userId="5816677a808bd126" providerId="LiveId" clId="{D6330EF2-D074-46EF-99AB-EABFD02433F8}" dt="2020-09-07T12:53:07.051" v="4"/>
      <pc:docMkLst>
        <pc:docMk/>
      </pc:docMkLst>
      <pc:sldChg chg="delSp modSp mod">
        <pc:chgData name="rkagetsu@outlook.jp" userId="5816677a808bd126" providerId="LiveId" clId="{D6330EF2-D074-46EF-99AB-EABFD02433F8}" dt="2020-09-07T12:53:07.051" v="4"/>
        <pc:sldMkLst>
          <pc:docMk/>
          <pc:sldMk cId="434843559" sldId="320"/>
        </pc:sldMkLst>
        <pc:spChg chg="mod">
          <ac:chgData name="rkagetsu@outlook.jp" userId="5816677a808bd126" providerId="LiveId" clId="{D6330EF2-D074-46EF-99AB-EABFD02433F8}" dt="2020-09-07T12:53:07.051" v="4"/>
          <ac:spMkLst>
            <pc:docMk/>
            <pc:sldMk cId="434843559" sldId="320"/>
            <ac:spMk id="11" creationId="{0BFFD69A-FB30-45E3-9215-39058D35A726}"/>
          </ac:spMkLst>
        </pc:spChg>
        <pc:spChg chg="del">
          <ac:chgData name="rkagetsu@outlook.jp" userId="5816677a808bd126" providerId="LiveId" clId="{D6330EF2-D074-46EF-99AB-EABFD02433F8}" dt="2020-09-07T12:53:00.808" v="0" actId="478"/>
          <ac:spMkLst>
            <pc:docMk/>
            <pc:sldMk cId="434843559" sldId="320"/>
            <ac:spMk id="30" creationId="{FCF324A2-279C-4108-90D7-56D7456F69A2}"/>
          </ac:spMkLst>
        </pc:spChg>
      </pc:sldChg>
    </pc:docChg>
  </pc:docChgLst>
  <pc:docChgLst>
    <pc:chgData name="rkagetsu@outlook.jp" userId="5816677a808bd126" providerId="LiveId" clId="{C0C32B8C-EB38-4BB7-AE2D-FFF5F296CAC9}"/>
    <pc:docChg chg="undo custSel addSld delSld modSld modMainMaster delSection modSection">
      <pc:chgData name="rkagetsu@outlook.jp" userId="5816677a808bd126" providerId="LiveId" clId="{C0C32B8C-EB38-4BB7-AE2D-FFF5F296CAC9}" dt="2021-01-20T01:56:34.181" v="185" actId="553"/>
      <pc:docMkLst>
        <pc:docMk/>
      </pc:docMkLst>
      <pc:sldChg chg="modSp mod">
        <pc:chgData name="rkagetsu@outlook.jp" userId="5816677a808bd126" providerId="LiveId" clId="{C0C32B8C-EB38-4BB7-AE2D-FFF5F296CAC9}" dt="2021-01-20T01:55:30.905" v="174" actId="5793"/>
        <pc:sldMkLst>
          <pc:docMk/>
          <pc:sldMk cId="3298817920" sldId="256"/>
        </pc:sldMkLst>
        <pc:spChg chg="mod">
          <ac:chgData name="rkagetsu@outlook.jp" userId="5816677a808bd126" providerId="LiveId" clId="{C0C32B8C-EB38-4BB7-AE2D-FFF5F296CAC9}" dt="2021-01-20T01:46:42.423" v="21" actId="20577"/>
          <ac:spMkLst>
            <pc:docMk/>
            <pc:sldMk cId="3298817920" sldId="256"/>
            <ac:spMk id="2" creationId="{00000000-0000-0000-0000-000000000000}"/>
          </ac:spMkLst>
        </pc:spChg>
        <pc:spChg chg="mod">
          <ac:chgData name="rkagetsu@outlook.jp" userId="5816677a808bd126" providerId="LiveId" clId="{C0C32B8C-EB38-4BB7-AE2D-FFF5F296CAC9}" dt="2021-01-20T01:55:30.905" v="174" actId="5793"/>
          <ac:spMkLst>
            <pc:docMk/>
            <pc:sldMk cId="3298817920" sldId="256"/>
            <ac:spMk id="3" creationId="{00000000-0000-0000-0000-000000000000}"/>
          </ac:spMkLst>
        </pc:spChg>
        <pc:spChg chg="mod">
          <ac:chgData name="rkagetsu@outlook.jp" userId="5816677a808bd126" providerId="LiveId" clId="{C0C32B8C-EB38-4BB7-AE2D-FFF5F296CAC9}" dt="2021-01-20T01:46:50.391" v="52" actId="20577"/>
          <ac:spMkLst>
            <pc:docMk/>
            <pc:sldMk cId="3298817920" sldId="256"/>
            <ac:spMk id="5" creationId="{00000000-0000-0000-0000-000000000000}"/>
          </ac:spMkLst>
        </pc:spChg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2466763451" sldId="257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3677226102" sldId="258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3416634034" sldId="260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2849896474" sldId="262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722107344" sldId="264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1885768597" sldId="265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3198980623" sldId="266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3891544475" sldId="267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4143661948" sldId="268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865410391" sldId="269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452868527" sldId="270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4211208725" sldId="271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1473500669" sldId="273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2127195258" sldId="274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1395718518" sldId="275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3980219212" sldId="277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2461830399" sldId="278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2777407127" sldId="279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101659467" sldId="280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2778213066" sldId="281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3894773121" sldId="282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2423423427" sldId="283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2672810242" sldId="284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4137109893" sldId="285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1335038724" sldId="286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985568905" sldId="288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384627729" sldId="289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4080560320" sldId="290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3065750885" sldId="291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3465864069" sldId="292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1450231416" sldId="293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3428539804" sldId="294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200770000" sldId="296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3246754623" sldId="297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3168785844" sldId="298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1042007911" sldId="299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1361335104" sldId="300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1752140426" sldId="301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1612484727" sldId="302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2441729157" sldId="303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3654692860" sldId="304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3594893619" sldId="305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2385110314" sldId="307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2060012418" sldId="308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2778659128" sldId="309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1867912829" sldId="310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3708034154" sldId="311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2831355740" sldId="312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1789765604" sldId="313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4285532122" sldId="314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2293184829" sldId="315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3099938989" sldId="316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401426526" sldId="317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3398151845" sldId="318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4215502685" sldId="319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434843559" sldId="320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848528149" sldId="321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1545896053" sldId="322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1154231280" sldId="323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1246864608" sldId="324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871285164" sldId="325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1837041529" sldId="326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640210181" sldId="327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1976367919" sldId="328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2957904340" sldId="329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609571972" sldId="330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80311792" sldId="331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1506838212" sldId="333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1482985787" sldId="334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4154796048" sldId="336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2171985509" sldId="338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330676728" sldId="339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4050563047" sldId="343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3413428935" sldId="344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3605458488" sldId="345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1424547082" sldId="346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475182125" sldId="347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2178807297" sldId="348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2629367039" sldId="349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33221538" sldId="350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4179698133" sldId="352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3061771250" sldId="353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323559913" sldId="354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1032692874" sldId="355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3208926434" sldId="356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4173771544" sldId="357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4285443535" sldId="358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3591256381" sldId="359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1447861470" sldId="360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2900920008" sldId="361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1006240810" sldId="362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394013630" sldId="363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2392131248" sldId="364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1035259931" sldId="365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2508267769" sldId="366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2644736897" sldId="367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365605848" sldId="368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61000665" sldId="369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3412440535" sldId="370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905995180" sldId="371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2089392113" sldId="372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3958484350" sldId="373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2893410280" sldId="374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131167526" sldId="375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2060048362" sldId="376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4220637489" sldId="377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4023189205" sldId="378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734455455" sldId="379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3960753353" sldId="380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1325048490" sldId="381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1562954710" sldId="382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563978685" sldId="383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2174319403" sldId="385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1768910500" sldId="386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1293169184" sldId="387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119635067" sldId="388"/>
        </pc:sldMkLst>
      </pc:sldChg>
      <pc:sldChg chg="del">
        <pc:chgData name="rkagetsu@outlook.jp" userId="5816677a808bd126" providerId="LiveId" clId="{C0C32B8C-EB38-4BB7-AE2D-FFF5F296CAC9}" dt="2021-01-20T01:55:20.531" v="172" actId="47"/>
        <pc:sldMkLst>
          <pc:docMk/>
          <pc:sldMk cId="3620994260" sldId="389"/>
        </pc:sldMkLst>
      </pc:sldChg>
      <pc:sldChg chg="new del">
        <pc:chgData name="rkagetsu@outlook.jp" userId="5816677a808bd126" providerId="LiveId" clId="{C0C32B8C-EB38-4BB7-AE2D-FFF5F296CAC9}" dt="2021-01-20T01:55:20.531" v="172" actId="47"/>
        <pc:sldMkLst>
          <pc:docMk/>
          <pc:sldMk cId="120657385" sldId="390"/>
        </pc:sldMkLst>
      </pc:sldChg>
      <pc:sldMasterChg chg="modSp mod delSldLayout modSldLayout">
        <pc:chgData name="rkagetsu@outlook.jp" userId="5816677a808bd126" providerId="LiveId" clId="{C0C32B8C-EB38-4BB7-AE2D-FFF5F296CAC9}" dt="2021-01-20T01:56:34.181" v="185" actId="553"/>
        <pc:sldMasterMkLst>
          <pc:docMk/>
          <pc:sldMasterMk cId="1493712532" sldId="2147483648"/>
        </pc:sldMasterMkLst>
        <pc:spChg chg="mod">
          <ac:chgData name="rkagetsu@outlook.jp" userId="5816677a808bd126" providerId="LiveId" clId="{C0C32B8C-EB38-4BB7-AE2D-FFF5F296CAC9}" dt="2021-01-20T01:54:18.224" v="166" actId="1036"/>
          <ac:spMkLst>
            <pc:docMk/>
            <pc:sldMasterMk cId="1493712532" sldId="2147483648"/>
            <ac:spMk id="11" creationId="{00000000-0000-0000-0000-000000000000}"/>
          </ac:spMkLst>
        </pc:spChg>
        <pc:sldLayoutChg chg="modSp mod">
          <pc:chgData name="rkagetsu@outlook.jp" userId="5816677a808bd126" providerId="LiveId" clId="{C0C32B8C-EB38-4BB7-AE2D-FFF5F296CAC9}" dt="2021-01-20T01:54:43.642" v="169" actId="2711"/>
          <pc:sldLayoutMkLst>
            <pc:docMk/>
            <pc:sldMasterMk cId="1493712532" sldId="2147483648"/>
            <pc:sldLayoutMk cId="313232451" sldId="2147483653"/>
          </pc:sldLayoutMkLst>
          <pc:spChg chg="mod">
            <ac:chgData name="rkagetsu@outlook.jp" userId="5816677a808bd126" providerId="LiveId" clId="{C0C32B8C-EB38-4BB7-AE2D-FFF5F296CAC9}" dt="2021-01-20T01:54:36.545" v="168" actId="2711"/>
            <ac:spMkLst>
              <pc:docMk/>
              <pc:sldMasterMk cId="1493712532" sldId="2147483648"/>
              <pc:sldLayoutMk cId="313232451" sldId="2147483653"/>
              <ac:spMk id="2" creationId="{00000000-0000-0000-0000-000000000000}"/>
            </ac:spMkLst>
          </pc:spChg>
          <pc:spChg chg="mod">
            <ac:chgData name="rkagetsu@outlook.jp" userId="5816677a808bd126" providerId="LiveId" clId="{C0C32B8C-EB38-4BB7-AE2D-FFF5F296CAC9}" dt="2021-01-20T01:54:36.545" v="168" actId="2711"/>
            <ac:spMkLst>
              <pc:docMk/>
              <pc:sldMasterMk cId="1493712532" sldId="2147483648"/>
              <pc:sldLayoutMk cId="313232451" sldId="2147483653"/>
              <ac:spMk id="3" creationId="{00000000-0000-0000-0000-000000000000}"/>
            </ac:spMkLst>
          </pc:spChg>
          <pc:spChg chg="mod">
            <ac:chgData name="rkagetsu@outlook.jp" userId="5816677a808bd126" providerId="LiveId" clId="{C0C32B8C-EB38-4BB7-AE2D-FFF5F296CAC9}" dt="2021-01-20T01:54:43.642" v="169" actId="2711"/>
            <ac:spMkLst>
              <pc:docMk/>
              <pc:sldMasterMk cId="1493712532" sldId="2147483648"/>
              <pc:sldLayoutMk cId="313232451" sldId="2147483653"/>
              <ac:spMk id="4" creationId="{00000000-0000-0000-0000-000000000000}"/>
            </ac:spMkLst>
          </pc:spChg>
        </pc:sldLayoutChg>
        <pc:sldLayoutChg chg="addSp delSp modSp mod">
          <pc:chgData name="rkagetsu@outlook.jp" userId="5816677a808bd126" providerId="LiveId" clId="{C0C32B8C-EB38-4BB7-AE2D-FFF5F296CAC9}" dt="2021-01-20T01:55:44.791" v="176" actId="14100"/>
          <pc:sldLayoutMkLst>
            <pc:docMk/>
            <pc:sldMasterMk cId="1493712532" sldId="2147483648"/>
            <pc:sldLayoutMk cId="3070090251" sldId="2147483661"/>
          </pc:sldLayoutMkLst>
          <pc:spChg chg="add del">
            <ac:chgData name="rkagetsu@outlook.jp" userId="5816677a808bd126" providerId="LiveId" clId="{C0C32B8C-EB38-4BB7-AE2D-FFF5F296CAC9}" dt="2021-01-20T01:53:27.399" v="65" actId="11529"/>
            <ac:spMkLst>
              <pc:docMk/>
              <pc:sldMasterMk cId="1493712532" sldId="2147483648"/>
              <pc:sldLayoutMk cId="3070090251" sldId="2147483661"/>
              <ac:spMk id="2" creationId="{7AB8745A-05C5-42CC-B4A5-8723ADFF1B3D}"/>
            </ac:spMkLst>
          </pc:spChg>
          <pc:spChg chg="add mod">
            <ac:chgData name="rkagetsu@outlook.jp" userId="5816677a808bd126" providerId="LiveId" clId="{C0C32B8C-EB38-4BB7-AE2D-FFF5F296CAC9}" dt="2021-01-20T01:55:44.791" v="176" actId="14100"/>
            <ac:spMkLst>
              <pc:docMk/>
              <pc:sldMasterMk cId="1493712532" sldId="2147483648"/>
              <pc:sldLayoutMk cId="3070090251" sldId="2147483661"/>
              <ac:spMk id="3" creationId="{7E6E3FEE-43D2-4946-8565-5B4950CA6386}"/>
            </ac:spMkLst>
          </pc:spChg>
          <pc:spChg chg="mod">
            <ac:chgData name="rkagetsu@outlook.jp" userId="5816677a808bd126" providerId="LiveId" clId="{C0C32B8C-EB38-4BB7-AE2D-FFF5F296CAC9}" dt="2021-01-20T01:52:41.765" v="61" actId="113"/>
            <ac:spMkLst>
              <pc:docMk/>
              <pc:sldMasterMk cId="1493712532" sldId="2147483648"/>
              <pc:sldLayoutMk cId="3070090251" sldId="2147483661"/>
              <ac:spMk id="4" creationId="{00000000-0000-0000-0000-000000000000}"/>
            </ac:spMkLst>
          </pc:spChg>
          <pc:spChg chg="del mod">
            <ac:chgData name="rkagetsu@outlook.jp" userId="5816677a808bd126" providerId="LiveId" clId="{C0C32B8C-EB38-4BB7-AE2D-FFF5F296CAC9}" dt="2021-01-20T01:53:17.400" v="64" actId="478"/>
            <ac:spMkLst>
              <pc:docMk/>
              <pc:sldMasterMk cId="1493712532" sldId="2147483648"/>
              <pc:sldLayoutMk cId="3070090251" sldId="2147483661"/>
              <ac:spMk id="20" creationId="{00000000-0000-0000-0000-000000000000}"/>
            </ac:spMkLst>
          </pc:spChg>
          <pc:spChg chg="mod">
            <ac:chgData name="rkagetsu@outlook.jp" userId="5816677a808bd126" providerId="LiveId" clId="{C0C32B8C-EB38-4BB7-AE2D-FFF5F296CAC9}" dt="2021-01-20T01:52:38.299" v="60" actId="2711"/>
            <ac:spMkLst>
              <pc:docMk/>
              <pc:sldMasterMk cId="1493712532" sldId="2147483648"/>
              <pc:sldLayoutMk cId="3070090251" sldId="2147483661"/>
              <ac:spMk id="23" creationId="{00000000-0000-0000-0000-000000000000}"/>
            </ac:spMkLst>
          </pc:spChg>
          <pc:spChg chg="mod">
            <ac:chgData name="rkagetsu@outlook.jp" userId="5816677a808bd126" providerId="LiveId" clId="{C0C32B8C-EB38-4BB7-AE2D-FFF5F296CAC9}" dt="2021-01-20T01:52:38.299" v="60" actId="2711"/>
            <ac:spMkLst>
              <pc:docMk/>
              <pc:sldMasterMk cId="1493712532" sldId="2147483648"/>
              <pc:sldLayoutMk cId="3070090251" sldId="2147483661"/>
              <ac:spMk id="25" creationId="{00000000-0000-0000-0000-000000000000}"/>
            </ac:spMkLst>
          </pc:spChg>
        </pc:sldLayoutChg>
        <pc:sldLayoutChg chg="del">
          <pc:chgData name="rkagetsu@outlook.jp" userId="5816677a808bd126" providerId="LiveId" clId="{C0C32B8C-EB38-4BB7-AE2D-FFF5F296CAC9}" dt="2021-01-20T01:55:59.807" v="177" actId="2696"/>
          <pc:sldLayoutMkLst>
            <pc:docMk/>
            <pc:sldMasterMk cId="1493712532" sldId="2147483648"/>
            <pc:sldLayoutMk cId="2616129592" sldId="2147483667"/>
          </pc:sldLayoutMkLst>
        </pc:sldLayoutChg>
        <pc:sldLayoutChg chg="modSp mod">
          <pc:chgData name="rkagetsu@outlook.jp" userId="5816677a808bd126" providerId="LiveId" clId="{C0C32B8C-EB38-4BB7-AE2D-FFF5F296CAC9}" dt="2021-01-20T01:56:16.558" v="179" actId="2711"/>
          <pc:sldLayoutMkLst>
            <pc:docMk/>
            <pc:sldMasterMk cId="1493712532" sldId="2147483648"/>
            <pc:sldLayoutMk cId="721531304" sldId="2147483668"/>
          </pc:sldLayoutMkLst>
          <pc:spChg chg="mod">
            <ac:chgData name="rkagetsu@outlook.jp" userId="5816677a808bd126" providerId="LiveId" clId="{C0C32B8C-EB38-4BB7-AE2D-FFF5F296CAC9}" dt="2021-01-20T01:56:16.558" v="179" actId="2711"/>
            <ac:spMkLst>
              <pc:docMk/>
              <pc:sldMasterMk cId="1493712532" sldId="2147483648"/>
              <pc:sldLayoutMk cId="721531304" sldId="2147483668"/>
              <ac:spMk id="2" creationId="{00000000-0000-0000-0000-000000000000}"/>
            </ac:spMkLst>
          </pc:spChg>
          <pc:spChg chg="mod">
            <ac:chgData name="rkagetsu@outlook.jp" userId="5816677a808bd126" providerId="LiveId" clId="{C0C32B8C-EB38-4BB7-AE2D-FFF5F296CAC9}" dt="2021-01-20T01:56:16.558" v="179" actId="2711"/>
            <ac:spMkLst>
              <pc:docMk/>
              <pc:sldMasterMk cId="1493712532" sldId="2147483648"/>
              <pc:sldLayoutMk cId="721531304" sldId="2147483668"/>
              <ac:spMk id="3" creationId="{00000000-0000-0000-0000-000000000000}"/>
            </ac:spMkLst>
          </pc:spChg>
          <pc:spChg chg="mod">
            <ac:chgData name="rkagetsu@outlook.jp" userId="5816677a808bd126" providerId="LiveId" clId="{C0C32B8C-EB38-4BB7-AE2D-FFF5F296CAC9}" dt="2021-01-20T01:56:09.072" v="178" actId="2711"/>
            <ac:spMkLst>
              <pc:docMk/>
              <pc:sldMasterMk cId="1493712532" sldId="2147483648"/>
              <pc:sldLayoutMk cId="721531304" sldId="2147483668"/>
              <ac:spMk id="4" creationId="{00000000-0000-0000-0000-000000000000}"/>
            </ac:spMkLst>
          </pc:spChg>
          <pc:spChg chg="mod">
            <ac:chgData name="rkagetsu@outlook.jp" userId="5816677a808bd126" providerId="LiveId" clId="{C0C32B8C-EB38-4BB7-AE2D-FFF5F296CAC9}" dt="2021-01-20T01:56:16.558" v="179" actId="2711"/>
            <ac:spMkLst>
              <pc:docMk/>
              <pc:sldMasterMk cId="1493712532" sldId="2147483648"/>
              <pc:sldLayoutMk cId="721531304" sldId="2147483668"/>
              <ac:spMk id="8" creationId="{00000000-0000-0000-0000-000000000000}"/>
            </ac:spMkLst>
          </pc:spChg>
        </pc:sldLayoutChg>
        <pc:sldLayoutChg chg="del">
          <pc:chgData name="rkagetsu@outlook.jp" userId="5816677a808bd126" providerId="LiveId" clId="{C0C32B8C-EB38-4BB7-AE2D-FFF5F296CAC9}" dt="2021-01-20T01:56:20.380" v="180" actId="2696"/>
          <pc:sldLayoutMkLst>
            <pc:docMk/>
            <pc:sldMasterMk cId="1493712532" sldId="2147483648"/>
            <pc:sldLayoutMk cId="2100011009" sldId="2147483670"/>
          </pc:sldLayoutMkLst>
        </pc:sldLayoutChg>
        <pc:sldLayoutChg chg="modSp mod">
          <pc:chgData name="rkagetsu@outlook.jp" userId="5816677a808bd126" providerId="LiveId" clId="{C0C32B8C-EB38-4BB7-AE2D-FFF5F296CAC9}" dt="2021-01-20T01:54:27.277" v="167" actId="2711"/>
          <pc:sldLayoutMkLst>
            <pc:docMk/>
            <pc:sldMasterMk cId="1493712532" sldId="2147483648"/>
            <pc:sldLayoutMk cId="766081952" sldId="2147483672"/>
          </pc:sldLayoutMkLst>
          <pc:spChg chg="mod">
            <ac:chgData name="rkagetsu@outlook.jp" userId="5816677a808bd126" providerId="LiveId" clId="{C0C32B8C-EB38-4BB7-AE2D-FFF5F296CAC9}" dt="2021-01-20T01:54:27.277" v="167" actId="2711"/>
            <ac:spMkLst>
              <pc:docMk/>
              <pc:sldMasterMk cId="1493712532" sldId="2147483648"/>
              <pc:sldLayoutMk cId="766081952" sldId="2147483672"/>
              <ac:spMk id="2" creationId="{00000000-0000-0000-0000-000000000000}"/>
            </ac:spMkLst>
          </pc:spChg>
        </pc:sldLayoutChg>
        <pc:sldLayoutChg chg="addSp modSp mod">
          <pc:chgData name="rkagetsu@outlook.jp" userId="5816677a808bd126" providerId="LiveId" clId="{C0C32B8C-EB38-4BB7-AE2D-FFF5F296CAC9}" dt="2021-01-20T01:54:56.115" v="171" actId="571"/>
          <pc:sldLayoutMkLst>
            <pc:docMk/>
            <pc:sldMasterMk cId="1493712532" sldId="2147483648"/>
            <pc:sldLayoutMk cId="2925048516" sldId="2147483673"/>
          </pc:sldLayoutMkLst>
          <pc:spChg chg="mod">
            <ac:chgData name="rkagetsu@outlook.jp" userId="5816677a808bd126" providerId="LiveId" clId="{C0C32B8C-EB38-4BB7-AE2D-FFF5F296CAC9}" dt="2021-01-20T01:54:53.265" v="170" actId="14100"/>
            <ac:spMkLst>
              <pc:docMk/>
              <pc:sldMasterMk cId="1493712532" sldId="2147483648"/>
              <pc:sldLayoutMk cId="2925048516" sldId="2147483673"/>
              <ac:spMk id="4" creationId="{00000000-0000-0000-0000-000000000000}"/>
            </ac:spMkLst>
          </pc:spChg>
          <pc:spChg chg="add mod">
            <ac:chgData name="rkagetsu@outlook.jp" userId="5816677a808bd126" providerId="LiveId" clId="{C0C32B8C-EB38-4BB7-AE2D-FFF5F296CAC9}" dt="2021-01-20T01:54:56.115" v="171" actId="571"/>
            <ac:spMkLst>
              <pc:docMk/>
              <pc:sldMasterMk cId="1493712532" sldId="2147483648"/>
              <pc:sldLayoutMk cId="2925048516" sldId="2147483673"/>
              <ac:spMk id="7" creationId="{E8F04B65-6984-4E39-91AA-FF46C46D2B39}"/>
            </ac:spMkLst>
          </pc:spChg>
          <pc:spChg chg="add mod">
            <ac:chgData name="rkagetsu@outlook.jp" userId="5816677a808bd126" providerId="LiveId" clId="{C0C32B8C-EB38-4BB7-AE2D-FFF5F296CAC9}" dt="2021-01-20T01:54:56.115" v="171" actId="571"/>
            <ac:spMkLst>
              <pc:docMk/>
              <pc:sldMasterMk cId="1493712532" sldId="2147483648"/>
              <pc:sldLayoutMk cId="2925048516" sldId="2147483673"/>
              <ac:spMk id="8" creationId="{52058FA5-C2A3-43C5-9B80-4A83667C1C1E}"/>
            </ac:spMkLst>
          </pc:spChg>
        </pc:sldLayoutChg>
        <pc:sldLayoutChg chg="addSp modSp mod">
          <pc:chgData name="rkagetsu@outlook.jp" userId="5816677a808bd126" providerId="LiveId" clId="{C0C32B8C-EB38-4BB7-AE2D-FFF5F296CAC9}" dt="2021-01-20T01:56:34.181" v="185" actId="553"/>
          <pc:sldLayoutMkLst>
            <pc:docMk/>
            <pc:sldMasterMk cId="1493712532" sldId="2147483648"/>
            <pc:sldLayoutMk cId="2061865178" sldId="2147483674"/>
          </pc:sldLayoutMkLst>
          <pc:spChg chg="mod">
            <ac:chgData name="rkagetsu@outlook.jp" userId="5816677a808bd126" providerId="LiveId" clId="{C0C32B8C-EB38-4BB7-AE2D-FFF5F296CAC9}" dt="2021-01-20T01:56:26.784" v="182" actId="14100"/>
            <ac:spMkLst>
              <pc:docMk/>
              <pc:sldMasterMk cId="1493712532" sldId="2147483648"/>
              <pc:sldLayoutMk cId="2061865178" sldId="2147483674"/>
              <ac:spMk id="3" creationId="{00000000-0000-0000-0000-000000000000}"/>
            </ac:spMkLst>
          </pc:spChg>
          <pc:spChg chg="mod">
            <ac:chgData name="rkagetsu@outlook.jp" userId="5816677a808bd126" providerId="LiveId" clId="{C0C32B8C-EB38-4BB7-AE2D-FFF5F296CAC9}" dt="2021-01-20T01:56:30.101" v="183" actId="14100"/>
            <ac:spMkLst>
              <pc:docMk/>
              <pc:sldMasterMk cId="1493712532" sldId="2147483648"/>
              <pc:sldLayoutMk cId="2061865178" sldId="2147483674"/>
              <ac:spMk id="4" creationId="{00000000-0000-0000-0000-000000000000}"/>
            </ac:spMkLst>
          </pc:spChg>
          <pc:spChg chg="mod">
            <ac:chgData name="rkagetsu@outlook.jp" userId="5816677a808bd126" providerId="LiveId" clId="{C0C32B8C-EB38-4BB7-AE2D-FFF5F296CAC9}" dt="2021-01-20T01:56:34.181" v="185" actId="553"/>
            <ac:spMkLst>
              <pc:docMk/>
              <pc:sldMasterMk cId="1493712532" sldId="2147483648"/>
              <pc:sldLayoutMk cId="2061865178" sldId="2147483674"/>
              <ac:spMk id="8" creationId="{00000000-0000-0000-0000-000000000000}"/>
            </ac:spMkLst>
          </pc:spChg>
          <pc:spChg chg="add mod">
            <ac:chgData name="rkagetsu@outlook.jp" userId="5816677a808bd126" providerId="LiveId" clId="{C0C32B8C-EB38-4BB7-AE2D-FFF5F296CAC9}" dt="2021-01-20T01:56:34.181" v="185" actId="553"/>
            <ac:spMkLst>
              <pc:docMk/>
              <pc:sldMasterMk cId="1493712532" sldId="2147483648"/>
              <pc:sldLayoutMk cId="2061865178" sldId="2147483674"/>
              <ac:spMk id="11" creationId="{8F3D492B-41DF-4335-9814-6CA437D08DF0}"/>
            </ac:spMkLst>
          </pc:spChg>
          <pc:spChg chg="add mod">
            <ac:chgData name="rkagetsu@outlook.jp" userId="5816677a808bd126" providerId="LiveId" clId="{C0C32B8C-EB38-4BB7-AE2D-FFF5F296CAC9}" dt="2021-01-20T01:56:34.181" v="185" actId="553"/>
            <ac:spMkLst>
              <pc:docMk/>
              <pc:sldMasterMk cId="1493712532" sldId="2147483648"/>
              <pc:sldLayoutMk cId="2061865178" sldId="2147483674"/>
              <ac:spMk id="12" creationId="{4B3854C2-D1A6-4DFE-9D11-3BB17DFEFE3A}"/>
            </ac:spMkLst>
          </pc:spChg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F121B7-71DB-48C4-A4B0-11C62F73B23D}" type="datetimeFigureOut">
              <a:rPr kumimoji="1" lang="ja-JP" altLang="en-US" smtClean="0"/>
              <a:t>2024/3/10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3881D3-0C0E-4E06-8499-3957C336C8E9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048123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中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6580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293" imgH="295" progId="TCLayout.ActiveDocument.1">
                  <p:embed/>
                </p:oleObj>
              </mc:Choice>
              <mc:Fallback>
                <p:oleObj name="think-cell スライド" r:id="rId4" imgW="293" imgH="295" progId="TCLayout.ActiveDocument.1">
                  <p:embed/>
                  <p:pic>
                    <p:nvPicPr>
                      <p:cNvPr id="8" name="オブジェクト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正方形/長方形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ja-JP" altLang="en-US" sz="2400" b="0" i="0" baseline="0" dirty="0">
              <a:latin typeface="ＭＳ Ｐゴシック" panose="020B0600070205080204" pitchFamily="50" charset="-128"/>
              <a:ea typeface="ＭＳ Ｐゴシック" panose="020B0600070205080204" pitchFamily="50" charset="-128"/>
              <a:cs typeface="+mj-cs"/>
              <a:sym typeface="ＭＳ Ｐゴシック" panose="020B0600070205080204" pitchFamily="50" charset="-128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ctrTitle" hasCustomPrompt="1"/>
          </p:nvPr>
        </p:nvSpPr>
        <p:spPr>
          <a:xfrm>
            <a:off x="1238250" y="2477477"/>
            <a:ext cx="4185627" cy="610455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latin typeface="+mj-ea"/>
                <a:ea typeface="+mj-ea"/>
              </a:defRPr>
            </a:lvl1pPr>
          </a:lstStyle>
          <a:p>
            <a:r>
              <a:rPr kumimoji="1" lang="ja-JP" altLang="en-US" dirty="0"/>
              <a:t>中表紙タイトル</a:t>
            </a:r>
          </a:p>
        </p:txBody>
      </p:sp>
    </p:spTree>
    <p:extLst>
      <p:ext uri="{BB962C8B-B14F-4D97-AF65-F5344CB8AC3E}">
        <p14:creationId xmlns:p14="http://schemas.microsoft.com/office/powerpoint/2010/main" val="7660819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オブジェクト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9615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93" imgH="295" progId="TCLayout.ActiveDocument.1">
                  <p:embed/>
                </p:oleObj>
              </mc:Choice>
              <mc:Fallback>
                <p:oleObj name="think-cell スライド" r:id="rId3" imgW="293" imgH="295" progId="TCLayout.ActiveDocument.1">
                  <p:embed/>
                  <p:pic>
                    <p:nvPicPr>
                      <p:cNvPr id="10" name="オブジェクト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682328" y="169863"/>
            <a:ext cx="8543925" cy="45666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600"/>
              </a:lnSpc>
              <a:spcBef>
                <a:spcPts val="600"/>
              </a:spcBef>
              <a:defRPr sz="2000" b="1">
                <a:latin typeface="BIZ UDPゴシック" panose="020B0400000000000000" pitchFamily="50" charset="-128"/>
                <a:ea typeface="BIZ UDPゴシック" panose="020B0400000000000000" pitchFamily="50" charset="-128"/>
              </a:defRPr>
            </a:lvl1pPr>
          </a:lstStyle>
          <a:p>
            <a:r>
              <a:rPr kumimoji="1" lang="ja-JP" altLang="en-US" dirty="0"/>
              <a:t>見出し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 hasCustomPrompt="1"/>
          </p:nvPr>
        </p:nvSpPr>
        <p:spPr>
          <a:xfrm>
            <a:off x="682328" y="1246396"/>
            <a:ext cx="4190702" cy="37428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 b="1">
                <a:solidFill>
                  <a:schemeClr val="accent5">
                    <a:lumMod val="75000"/>
                  </a:schemeClr>
                </a:solidFill>
                <a:latin typeface="+mj-ea"/>
                <a:ea typeface="+mj-ea"/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kumimoji="1" lang="ja-JP" altLang="en-US" dirty="0"/>
              <a:t>ヘッダー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682327" y="1849640"/>
            <a:ext cx="8543926" cy="4473006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ea"/>
                <a:ea typeface="+mn-ea"/>
                <a:cs typeface="Arial" panose="020B0604020202020204" pitchFamily="34" charset="0"/>
              </a:defRPr>
            </a:lvl1pPr>
            <a:lvl2pPr>
              <a:defRPr sz="1200">
                <a:latin typeface="+mn-ea"/>
                <a:ea typeface="+mn-ea"/>
                <a:cs typeface="Arial" panose="020B0604020202020204" pitchFamily="34" charset="0"/>
              </a:defRPr>
            </a:lvl2pPr>
            <a:lvl3pPr>
              <a:defRPr sz="1200">
                <a:latin typeface="+mn-ea"/>
                <a:ea typeface="+mn-ea"/>
                <a:cs typeface="Arial" panose="020B0604020202020204" pitchFamily="34" charset="0"/>
              </a:defRPr>
            </a:lvl3pPr>
            <a:lvl4pPr>
              <a:defRPr sz="1200">
                <a:latin typeface="+mn-ea"/>
                <a:ea typeface="+mn-ea"/>
                <a:cs typeface="Arial" panose="020B0604020202020204" pitchFamily="34" charset="0"/>
              </a:defRPr>
            </a:lvl4pPr>
            <a:lvl5pPr>
              <a:defRPr sz="1200">
                <a:latin typeface="+mn-ea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>
          <a:xfrm>
            <a:off x="3838575" y="6583003"/>
            <a:ext cx="2228850" cy="274997"/>
          </a:xfrm>
          <a:prstGeom prst="rect">
            <a:avLst/>
          </a:prstGeom>
        </p:spPr>
        <p:txBody>
          <a:bodyPr anchor="ctr"/>
          <a:lstStyle>
            <a:lvl1pPr algn="ctr">
              <a:defRPr sz="1200"/>
            </a:lvl1pPr>
          </a:lstStyle>
          <a:p>
            <a:fld id="{C4F52EA5-8B9E-4767-87D1-0AECA1F41472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132324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オブジェクト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637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93" imgH="295" progId="TCLayout.ActiveDocument.1">
                  <p:embed/>
                </p:oleObj>
              </mc:Choice>
              <mc:Fallback>
                <p:oleObj name="think-cell スライド" r:id="rId3" imgW="293" imgH="295" progId="TCLayout.ActiveDocument.1">
                  <p:embed/>
                  <p:pic>
                    <p:nvPicPr>
                      <p:cNvPr id="10" name="オブジェクト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テキスト プレースホルダー 2"/>
          <p:cNvSpPr>
            <a:spLocks noGrp="1"/>
          </p:cNvSpPr>
          <p:nvPr>
            <p:ph type="body" idx="1" hasCustomPrompt="1"/>
          </p:nvPr>
        </p:nvSpPr>
        <p:spPr>
          <a:xfrm>
            <a:off x="682328" y="1018688"/>
            <a:ext cx="4190702" cy="37428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 b="1">
                <a:solidFill>
                  <a:schemeClr val="accent5">
                    <a:lumMod val="75000"/>
                  </a:schemeClr>
                </a:solidFill>
                <a:latin typeface="+mj-ea"/>
                <a:ea typeface="+mj-ea"/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kumimoji="1" lang="ja-JP" altLang="en-US" dirty="0"/>
              <a:t>ヘッダー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682327" y="1504840"/>
            <a:ext cx="4190702" cy="4817806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ea"/>
                <a:ea typeface="+mn-ea"/>
                <a:cs typeface="Arial" panose="020B0604020202020204" pitchFamily="34" charset="0"/>
              </a:defRPr>
            </a:lvl1pPr>
            <a:lvl2pPr>
              <a:defRPr sz="1200">
                <a:latin typeface="+mn-ea"/>
                <a:ea typeface="+mn-ea"/>
                <a:cs typeface="Arial" panose="020B0604020202020204" pitchFamily="34" charset="0"/>
              </a:defRPr>
            </a:lvl2pPr>
            <a:lvl3pPr>
              <a:defRPr sz="1200">
                <a:latin typeface="+mn-ea"/>
                <a:ea typeface="+mn-ea"/>
                <a:cs typeface="Arial" panose="020B0604020202020204" pitchFamily="34" charset="0"/>
              </a:defRPr>
            </a:lvl3pPr>
            <a:lvl4pPr>
              <a:defRPr sz="1200">
                <a:latin typeface="+mn-ea"/>
                <a:ea typeface="+mn-ea"/>
                <a:cs typeface="Arial" panose="020B0604020202020204" pitchFamily="34" charset="0"/>
              </a:defRPr>
            </a:lvl4pPr>
            <a:lvl5pPr>
              <a:defRPr sz="1200">
                <a:latin typeface="+mn-ea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>
          <a:xfrm>
            <a:off x="3838575" y="6583003"/>
            <a:ext cx="2228850" cy="274997"/>
          </a:xfrm>
          <a:prstGeom prst="rect">
            <a:avLst/>
          </a:prstGeom>
        </p:spPr>
        <p:txBody>
          <a:bodyPr anchor="ctr"/>
          <a:lstStyle>
            <a:lvl1pPr algn="ctr">
              <a:defRPr sz="1200"/>
            </a:lvl1pPr>
          </a:lstStyle>
          <a:p>
            <a:fld id="{C4F52EA5-8B9E-4767-87D1-0AECA1F41472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7" name="テキスト プレースホルダー 2">
            <a:extLst>
              <a:ext uri="{FF2B5EF4-FFF2-40B4-BE49-F238E27FC236}">
                <a16:creationId xmlns:a16="http://schemas.microsoft.com/office/drawing/2014/main" id="{E8F04B65-6984-4E39-91AA-FF46C46D2B39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032973" y="1018688"/>
            <a:ext cx="4190702" cy="37428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 b="1">
                <a:solidFill>
                  <a:schemeClr val="accent5">
                    <a:lumMod val="75000"/>
                  </a:schemeClr>
                </a:solidFill>
                <a:latin typeface="+mj-ea"/>
                <a:ea typeface="+mj-ea"/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kumimoji="1" lang="ja-JP" altLang="en-US" dirty="0"/>
              <a:t>ヘッダー</a:t>
            </a:r>
          </a:p>
        </p:txBody>
      </p:sp>
      <p:sp>
        <p:nvSpPr>
          <p:cNvPr id="8" name="コンテンツ プレースホルダー 3">
            <a:extLst>
              <a:ext uri="{FF2B5EF4-FFF2-40B4-BE49-F238E27FC236}">
                <a16:creationId xmlns:a16="http://schemas.microsoft.com/office/drawing/2014/main" id="{52058FA5-C2A3-43C5-9B80-4A83667C1C1E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5032972" y="1504840"/>
            <a:ext cx="4190702" cy="4817806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ea"/>
                <a:ea typeface="+mn-ea"/>
                <a:cs typeface="Arial" panose="020B0604020202020204" pitchFamily="34" charset="0"/>
              </a:defRPr>
            </a:lvl1pPr>
            <a:lvl2pPr>
              <a:defRPr sz="1200">
                <a:latin typeface="+mn-ea"/>
                <a:ea typeface="+mn-ea"/>
                <a:cs typeface="Arial" panose="020B0604020202020204" pitchFamily="34" charset="0"/>
              </a:defRPr>
            </a:lvl2pPr>
            <a:lvl3pPr>
              <a:defRPr sz="1200">
                <a:latin typeface="+mn-ea"/>
                <a:ea typeface="+mn-ea"/>
                <a:cs typeface="Arial" panose="020B0604020202020204" pitchFamily="34" charset="0"/>
              </a:defRPr>
            </a:lvl3pPr>
            <a:lvl4pPr>
              <a:defRPr sz="1200">
                <a:latin typeface="+mn-ea"/>
                <a:ea typeface="+mn-ea"/>
                <a:cs typeface="Arial" panose="020B0604020202020204" pitchFamily="34" charset="0"/>
              </a:defRPr>
            </a:lvl4pPr>
            <a:lvl5pPr>
              <a:defRPr sz="1200">
                <a:latin typeface="+mn-ea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B5C5D2F1-4CE1-2A60-10BC-BDA8A0CCB9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2328" y="169864"/>
            <a:ext cx="8543925" cy="682136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600"/>
              </a:lnSpc>
              <a:spcBef>
                <a:spcPts val="600"/>
              </a:spcBef>
              <a:defRPr sz="2000" b="1">
                <a:latin typeface="+mj-ea"/>
                <a:ea typeface="+mj-ea"/>
              </a:defRPr>
            </a:lvl1pPr>
          </a:lstStyle>
          <a:p>
            <a:r>
              <a:rPr kumimoji="1" lang="ja-JP" altLang="en-US" dirty="0"/>
              <a:t>リード文</a:t>
            </a:r>
            <a:br>
              <a:rPr kumimoji="1" lang="en-US" altLang="ja-JP" dirty="0"/>
            </a:br>
            <a:r>
              <a:rPr kumimoji="1" lang="ja-JP" altLang="en-US" dirty="0"/>
              <a:t>（最も伝えたいこと）</a:t>
            </a:r>
          </a:p>
        </p:txBody>
      </p:sp>
    </p:spTree>
    <p:extLst>
      <p:ext uri="{BB962C8B-B14F-4D97-AF65-F5344CB8AC3E}">
        <p14:creationId xmlns:p14="http://schemas.microsoft.com/office/powerpoint/2010/main" val="29250485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コンテンツ補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オブジェクト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8410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93" imgH="295" progId="TCLayout.ActiveDocument.1">
                  <p:embed/>
                </p:oleObj>
              </mc:Choice>
              <mc:Fallback>
                <p:oleObj name="think-cell スライド" r:id="rId3" imgW="293" imgH="295" progId="TCLayout.ActiveDocument.1">
                  <p:embed/>
                  <p:pic>
                    <p:nvPicPr>
                      <p:cNvPr id="10" name="オブジェクト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テキスト プレースホルダー 2"/>
          <p:cNvSpPr>
            <a:spLocks noGrp="1"/>
          </p:cNvSpPr>
          <p:nvPr>
            <p:ph type="body" idx="1" hasCustomPrompt="1"/>
          </p:nvPr>
        </p:nvSpPr>
        <p:spPr>
          <a:xfrm>
            <a:off x="682328" y="1504840"/>
            <a:ext cx="4190702" cy="37428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 b="1">
                <a:solidFill>
                  <a:schemeClr val="accent5">
                    <a:lumMod val="75000"/>
                  </a:schemeClr>
                </a:solidFill>
                <a:latin typeface="+mj-ea"/>
                <a:ea typeface="+mj-ea"/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kumimoji="1" lang="ja-JP" altLang="en-US" dirty="0"/>
              <a:t>ヘッダー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682327" y="1947040"/>
            <a:ext cx="8543926" cy="4375605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ea"/>
                <a:ea typeface="+mn-ea"/>
                <a:cs typeface="Arial" panose="020B0604020202020204" pitchFamily="34" charset="0"/>
              </a:defRPr>
            </a:lvl1pPr>
            <a:lvl2pPr>
              <a:defRPr sz="1200">
                <a:latin typeface="+mn-ea"/>
                <a:ea typeface="+mn-ea"/>
                <a:cs typeface="Arial" panose="020B0604020202020204" pitchFamily="34" charset="0"/>
              </a:defRPr>
            </a:lvl2pPr>
            <a:lvl3pPr>
              <a:defRPr sz="1200">
                <a:latin typeface="+mn-ea"/>
                <a:ea typeface="+mn-ea"/>
                <a:cs typeface="Arial" panose="020B0604020202020204" pitchFamily="34" charset="0"/>
              </a:defRPr>
            </a:lvl3pPr>
            <a:lvl4pPr>
              <a:defRPr sz="1200">
                <a:latin typeface="+mn-ea"/>
                <a:ea typeface="+mn-ea"/>
                <a:cs typeface="Arial" panose="020B0604020202020204" pitchFamily="34" charset="0"/>
              </a:defRPr>
            </a:lvl4pPr>
            <a:lvl5pPr>
              <a:defRPr sz="1200">
                <a:latin typeface="+mn-ea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>
          <a:xfrm>
            <a:off x="3838575" y="6583003"/>
            <a:ext cx="2228850" cy="274997"/>
          </a:xfrm>
          <a:prstGeom prst="rect">
            <a:avLst/>
          </a:prstGeom>
        </p:spPr>
        <p:txBody>
          <a:bodyPr anchor="ctr"/>
          <a:lstStyle>
            <a:lvl1pPr algn="ctr">
              <a:defRPr sz="1200"/>
            </a:lvl1pPr>
          </a:lstStyle>
          <a:p>
            <a:fld id="{C4F52EA5-8B9E-4767-87D1-0AECA1F41472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idx="13" hasCustomPrompt="1"/>
          </p:nvPr>
        </p:nvSpPr>
        <p:spPr>
          <a:xfrm>
            <a:off x="682327" y="946422"/>
            <a:ext cx="8543925" cy="47960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 b="0">
                <a:solidFill>
                  <a:schemeClr val="tx1"/>
                </a:solidFill>
                <a:latin typeface="+mj-ea"/>
                <a:ea typeface="+mj-ea"/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kumimoji="1" lang="ja-JP" altLang="en-US" dirty="0"/>
              <a:t>補足文</a:t>
            </a:r>
            <a:br>
              <a:rPr kumimoji="1" lang="en-US" altLang="ja-JP" dirty="0"/>
            </a:br>
            <a:r>
              <a:rPr kumimoji="1" lang="en-US" altLang="ja-JP" dirty="0"/>
              <a:t>14pt</a:t>
            </a:r>
            <a:r>
              <a:rPr kumimoji="1" lang="ja-JP" altLang="en-US" dirty="0"/>
              <a:t>最大</a:t>
            </a:r>
            <a:r>
              <a:rPr kumimoji="1" lang="en-US" altLang="ja-JP" dirty="0"/>
              <a:t>2</a:t>
            </a:r>
            <a:r>
              <a:rPr kumimoji="1" lang="ja-JP" altLang="en-US" dirty="0"/>
              <a:t>行</a:t>
            </a:r>
            <a:endParaRPr kumimoji="1" lang="en-US" altLang="ja-JP" dirty="0"/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BE009920-CEB9-201C-B96D-EC780112C5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2328" y="169864"/>
            <a:ext cx="8543925" cy="682136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600"/>
              </a:lnSpc>
              <a:spcBef>
                <a:spcPts val="600"/>
              </a:spcBef>
              <a:defRPr sz="2000" b="1">
                <a:latin typeface="+mj-ea"/>
                <a:ea typeface="+mj-ea"/>
              </a:defRPr>
            </a:lvl1pPr>
          </a:lstStyle>
          <a:p>
            <a:r>
              <a:rPr kumimoji="1" lang="ja-JP" altLang="en-US" dirty="0"/>
              <a:t>リード文</a:t>
            </a:r>
            <a:br>
              <a:rPr kumimoji="1" lang="en-US" altLang="ja-JP" dirty="0"/>
            </a:br>
            <a:r>
              <a:rPr kumimoji="1" lang="ja-JP" altLang="en-US" dirty="0"/>
              <a:t>（最も伝えたいこと）</a:t>
            </a:r>
          </a:p>
        </p:txBody>
      </p:sp>
    </p:spTree>
    <p:extLst>
      <p:ext uri="{BB962C8B-B14F-4D97-AF65-F5344CB8AC3E}">
        <p14:creationId xmlns:p14="http://schemas.microsoft.com/office/powerpoint/2010/main" val="7215313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コンテンツ補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オブジェクト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09544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93" imgH="295" progId="TCLayout.ActiveDocument.1">
                  <p:embed/>
                </p:oleObj>
              </mc:Choice>
              <mc:Fallback>
                <p:oleObj name="think-cell スライド" r:id="rId3" imgW="293" imgH="295" progId="TCLayout.ActiveDocument.1">
                  <p:embed/>
                  <p:pic>
                    <p:nvPicPr>
                      <p:cNvPr id="10" name="オブジェクト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テキスト プレースホルダー 2"/>
          <p:cNvSpPr>
            <a:spLocks noGrp="1"/>
          </p:cNvSpPr>
          <p:nvPr>
            <p:ph type="body" idx="1" hasCustomPrompt="1"/>
          </p:nvPr>
        </p:nvSpPr>
        <p:spPr>
          <a:xfrm>
            <a:off x="682328" y="1504840"/>
            <a:ext cx="4190702" cy="37428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 b="1">
                <a:solidFill>
                  <a:schemeClr val="accent5">
                    <a:lumMod val="75000"/>
                  </a:schemeClr>
                </a:solidFill>
                <a:latin typeface="+mj-ea"/>
                <a:ea typeface="+mj-ea"/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kumimoji="1" lang="ja-JP" altLang="en-US" dirty="0"/>
              <a:t>ヘッダー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682327" y="1947040"/>
            <a:ext cx="4190702" cy="4375605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ea"/>
                <a:ea typeface="+mn-ea"/>
                <a:cs typeface="Arial" panose="020B0604020202020204" pitchFamily="34" charset="0"/>
              </a:defRPr>
            </a:lvl1pPr>
            <a:lvl2pPr>
              <a:defRPr sz="1200">
                <a:latin typeface="+mn-ea"/>
                <a:ea typeface="+mn-ea"/>
                <a:cs typeface="Arial" panose="020B0604020202020204" pitchFamily="34" charset="0"/>
              </a:defRPr>
            </a:lvl2pPr>
            <a:lvl3pPr>
              <a:defRPr sz="1200">
                <a:latin typeface="+mn-ea"/>
                <a:ea typeface="+mn-ea"/>
                <a:cs typeface="Arial" panose="020B0604020202020204" pitchFamily="34" charset="0"/>
              </a:defRPr>
            </a:lvl3pPr>
            <a:lvl4pPr>
              <a:defRPr sz="1200">
                <a:latin typeface="+mn-ea"/>
                <a:ea typeface="+mn-ea"/>
                <a:cs typeface="Arial" panose="020B0604020202020204" pitchFamily="34" charset="0"/>
              </a:defRPr>
            </a:lvl4pPr>
            <a:lvl5pPr>
              <a:defRPr sz="1200">
                <a:latin typeface="+mn-ea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>
          <a:xfrm>
            <a:off x="3838575" y="6583003"/>
            <a:ext cx="2228850" cy="274997"/>
          </a:xfrm>
          <a:prstGeom prst="rect">
            <a:avLst/>
          </a:prstGeom>
        </p:spPr>
        <p:txBody>
          <a:bodyPr anchor="ctr"/>
          <a:lstStyle>
            <a:lvl1pPr algn="ctr">
              <a:defRPr sz="1200"/>
            </a:lvl1pPr>
          </a:lstStyle>
          <a:p>
            <a:fld id="{C4F52EA5-8B9E-4767-87D1-0AECA1F41472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idx="13" hasCustomPrompt="1"/>
          </p:nvPr>
        </p:nvSpPr>
        <p:spPr>
          <a:xfrm>
            <a:off x="682327" y="946422"/>
            <a:ext cx="8543925" cy="47960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 b="0">
                <a:solidFill>
                  <a:schemeClr val="tx1"/>
                </a:solidFill>
                <a:latin typeface="+mj-ea"/>
                <a:ea typeface="+mj-ea"/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kumimoji="1" lang="ja-JP" altLang="en-US" dirty="0"/>
              <a:t>補足文</a:t>
            </a:r>
            <a:br>
              <a:rPr kumimoji="1" lang="en-US" altLang="ja-JP" dirty="0"/>
            </a:br>
            <a:r>
              <a:rPr kumimoji="1" lang="en-US" altLang="ja-JP" dirty="0"/>
              <a:t>14pt</a:t>
            </a:r>
            <a:r>
              <a:rPr kumimoji="1" lang="ja-JP" altLang="en-US" dirty="0"/>
              <a:t>最大</a:t>
            </a:r>
            <a:r>
              <a:rPr kumimoji="1" lang="en-US" altLang="ja-JP" dirty="0"/>
              <a:t>2</a:t>
            </a:r>
            <a:r>
              <a:rPr kumimoji="1" lang="ja-JP" altLang="en-US" dirty="0"/>
              <a:t>行</a:t>
            </a:r>
            <a:endParaRPr kumimoji="1" lang="en-US" altLang="ja-JP" dirty="0"/>
          </a:p>
        </p:txBody>
      </p:sp>
      <p:sp>
        <p:nvSpPr>
          <p:cNvPr id="11" name="テキスト プレースホルダー 2">
            <a:extLst>
              <a:ext uri="{FF2B5EF4-FFF2-40B4-BE49-F238E27FC236}">
                <a16:creationId xmlns:a16="http://schemas.microsoft.com/office/drawing/2014/main" id="{8F3D492B-41DF-4335-9814-6CA437D08DF0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5035550" y="1504840"/>
            <a:ext cx="4190702" cy="37428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 b="1">
                <a:solidFill>
                  <a:schemeClr val="accent5">
                    <a:lumMod val="75000"/>
                  </a:schemeClr>
                </a:solidFill>
                <a:latin typeface="+mj-ea"/>
                <a:ea typeface="+mj-ea"/>
              </a:defRPr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kumimoji="1" lang="ja-JP" altLang="en-US" dirty="0"/>
              <a:t>ヘッダー</a:t>
            </a:r>
          </a:p>
        </p:txBody>
      </p:sp>
      <p:sp>
        <p:nvSpPr>
          <p:cNvPr id="12" name="コンテンツ プレースホルダー 3">
            <a:extLst>
              <a:ext uri="{FF2B5EF4-FFF2-40B4-BE49-F238E27FC236}">
                <a16:creationId xmlns:a16="http://schemas.microsoft.com/office/drawing/2014/main" id="{4B3854C2-D1A6-4DFE-9D11-3BB17DFEFE3A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5035550" y="1947040"/>
            <a:ext cx="4190702" cy="4375605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ea"/>
                <a:ea typeface="+mn-ea"/>
                <a:cs typeface="Arial" panose="020B0604020202020204" pitchFamily="34" charset="0"/>
              </a:defRPr>
            </a:lvl1pPr>
            <a:lvl2pPr>
              <a:defRPr sz="1200">
                <a:latin typeface="+mn-ea"/>
                <a:ea typeface="+mn-ea"/>
                <a:cs typeface="Arial" panose="020B0604020202020204" pitchFamily="34" charset="0"/>
              </a:defRPr>
            </a:lvl2pPr>
            <a:lvl3pPr>
              <a:defRPr sz="1200">
                <a:latin typeface="+mn-ea"/>
                <a:ea typeface="+mn-ea"/>
                <a:cs typeface="Arial" panose="020B0604020202020204" pitchFamily="34" charset="0"/>
              </a:defRPr>
            </a:lvl3pPr>
            <a:lvl4pPr>
              <a:defRPr sz="1200">
                <a:latin typeface="+mn-ea"/>
                <a:ea typeface="+mn-ea"/>
                <a:cs typeface="Arial" panose="020B0604020202020204" pitchFamily="34" charset="0"/>
              </a:defRPr>
            </a:lvl4pPr>
            <a:lvl5pPr>
              <a:defRPr sz="1200">
                <a:latin typeface="+mn-ea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860CD79A-F8F4-4CD0-18F6-3B382E7679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2328" y="169864"/>
            <a:ext cx="8543925" cy="682136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600"/>
              </a:lnSpc>
              <a:spcBef>
                <a:spcPts val="600"/>
              </a:spcBef>
              <a:defRPr sz="2000" b="1">
                <a:latin typeface="+mj-ea"/>
                <a:ea typeface="+mj-ea"/>
              </a:defRPr>
            </a:lvl1pPr>
          </a:lstStyle>
          <a:p>
            <a:r>
              <a:rPr kumimoji="1" lang="ja-JP" altLang="en-US" dirty="0"/>
              <a:t>リード文</a:t>
            </a:r>
            <a:br>
              <a:rPr kumimoji="1" lang="en-US" altLang="ja-JP" dirty="0"/>
            </a:br>
            <a:r>
              <a:rPr kumimoji="1" lang="ja-JP" altLang="en-US" dirty="0"/>
              <a:t>（最も伝えたいこと）</a:t>
            </a:r>
          </a:p>
        </p:txBody>
      </p:sp>
    </p:spTree>
    <p:extLst>
      <p:ext uri="{BB962C8B-B14F-4D97-AF65-F5344CB8AC3E}">
        <p14:creationId xmlns:p14="http://schemas.microsoft.com/office/powerpoint/2010/main" val="20618651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オブジェクト 9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195248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9" imgW="293" imgH="295" progId="TCLayout.ActiveDocument.1">
                  <p:embed/>
                </p:oleObj>
              </mc:Choice>
              <mc:Fallback>
                <p:oleObj name="think-cell スライド" r:id="rId9" imgW="293" imgH="295" progId="TCLayout.ActiveDocument.1">
                  <p:embed/>
                  <p:pic>
                    <p:nvPicPr>
                      <p:cNvPr id="10" name="オブジェクト 9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正方形/長方形 8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ja-JP" altLang="en-US" sz="2000" b="0" i="0" baseline="0" dirty="0">
              <a:latin typeface="ＭＳ Ｐゴシック" panose="020B0600070205080204" pitchFamily="50" charset="-128"/>
              <a:ea typeface="ＭＳ Ｐゴシック" panose="020B0600070205080204" pitchFamily="50" charset="-128"/>
              <a:cs typeface="+mj-cs"/>
              <a:sym typeface="ＭＳ Ｐゴシック" panose="020B0600070205080204" pitchFamily="50" charset="-128"/>
            </a:endParaRPr>
          </a:p>
        </p:txBody>
      </p:sp>
      <p:pic>
        <p:nvPicPr>
          <p:cNvPr id="5" name="図 4" descr="テキスト&#10;&#10;中程度の精度で自動的に生成された説明">
            <a:extLst>
              <a:ext uri="{FF2B5EF4-FFF2-40B4-BE49-F238E27FC236}">
                <a16:creationId xmlns:a16="http://schemas.microsoft.com/office/drawing/2014/main" id="{8A418CD2-89DE-39F1-1B57-C9A7D3470A4C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6666" y="116114"/>
            <a:ext cx="1969507" cy="443139"/>
          </a:xfrm>
          <a:prstGeom prst="rect">
            <a:avLst/>
          </a:prstGeom>
        </p:spPr>
      </p:pic>
      <p:pic>
        <p:nvPicPr>
          <p:cNvPr id="6" name="図 5" descr="テキスト&#10;&#10;中程度の精度で自動的に生成された説明">
            <a:extLst>
              <a:ext uri="{FF2B5EF4-FFF2-40B4-BE49-F238E27FC236}">
                <a16:creationId xmlns:a16="http://schemas.microsoft.com/office/drawing/2014/main" id="{30336966-7173-0C22-B198-477B98F0BBE7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9293" y="3065916"/>
            <a:ext cx="3227414" cy="726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3712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53" r:id="rId2"/>
    <p:sldLayoutId id="2147483673" r:id="rId3"/>
    <p:sldLayoutId id="2147483668" r:id="rId4"/>
    <p:sldLayoutId id="2147483674" r:id="rId5"/>
  </p:sldLayoutIdLst>
  <p:hf hdr="0" ftr="0" dt="0"/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kumimoji="1" sz="2000" kern="1200">
          <a:solidFill>
            <a:schemeClr val="tx1"/>
          </a:solidFill>
          <a:latin typeface="ＭＳ Ｐゴシック" panose="020B0600070205080204" pitchFamily="50" charset="-128"/>
          <a:ea typeface="ＭＳ Ｐゴシック" panose="020B0600070205080204" pitchFamily="50" charset="-128"/>
          <a:cs typeface="+mj-cs"/>
        </a:defRPr>
      </a:lvl1pPr>
    </p:titleStyle>
    <p:bodyStyle>
      <a:lvl1pPr marL="185738" indent="-185738" algn="l" defTabSz="742950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kumimoji="1"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6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1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タイトル 5">
            <a:extLst>
              <a:ext uri="{FF2B5EF4-FFF2-40B4-BE49-F238E27FC236}">
                <a16:creationId xmlns:a16="http://schemas.microsoft.com/office/drawing/2014/main" id="{19837E4A-08D8-F72A-652E-11EE7D744B3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03322" y="2684945"/>
            <a:ext cx="6699357" cy="610455"/>
          </a:xfrm>
        </p:spPr>
        <p:txBody>
          <a:bodyPr/>
          <a:lstStyle/>
          <a:p>
            <a:pPr algn="ctr"/>
            <a:r>
              <a:rPr lang="ja-JP" altLang="en-US" dirty="0"/>
              <a:t>ファイナルペーパー（テンプレート）</a:t>
            </a:r>
          </a:p>
        </p:txBody>
      </p:sp>
      <p:sp>
        <p:nvSpPr>
          <p:cNvPr id="7" name="タイトル 5">
            <a:extLst>
              <a:ext uri="{FF2B5EF4-FFF2-40B4-BE49-F238E27FC236}">
                <a16:creationId xmlns:a16="http://schemas.microsoft.com/office/drawing/2014/main" id="{E58B7931-4A94-188F-F390-EDC59B1E6943}"/>
              </a:ext>
            </a:extLst>
          </p:cNvPr>
          <p:cNvSpPr txBox="1">
            <a:spLocks/>
          </p:cNvSpPr>
          <p:nvPr/>
        </p:nvSpPr>
        <p:spPr>
          <a:xfrm>
            <a:off x="1603322" y="3522504"/>
            <a:ext cx="6699357" cy="610455"/>
          </a:xfrm>
          <a:prstGeom prst="rect">
            <a:avLst/>
          </a:prstGeom>
        </p:spPr>
        <p:txBody>
          <a:bodyPr anchor="ctr"/>
          <a:lstStyle>
            <a:lvl1pPr algn="l" defTabSz="74295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kern="1200">
                <a:solidFill>
                  <a:schemeClr val="tx1"/>
                </a:solidFill>
                <a:latin typeface="+mj-ea"/>
                <a:ea typeface="+mj-ea"/>
                <a:cs typeface="+mj-cs"/>
              </a:defRPr>
            </a:lvl1pPr>
          </a:lstStyle>
          <a:p>
            <a:pPr algn="ctr"/>
            <a:r>
              <a:rPr lang="ja-JP" altLang="en-US" sz="2400" dirty="0"/>
              <a:t>中小企業診断士</a:t>
            </a:r>
            <a:r>
              <a:rPr lang="en-US" altLang="ja-JP" sz="2400" dirty="0"/>
              <a:t>2</a:t>
            </a:r>
            <a:r>
              <a:rPr lang="ja-JP" altLang="en-US" sz="2400" dirty="0"/>
              <a:t>次試験対策　レインボー</a:t>
            </a: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4809DE9C-B54C-4359-A148-B47DB2D8A6A4}"/>
              </a:ext>
            </a:extLst>
          </p:cNvPr>
          <p:cNvSpPr/>
          <p:nvPr/>
        </p:nvSpPr>
        <p:spPr>
          <a:xfrm>
            <a:off x="391885" y="268942"/>
            <a:ext cx="1344706" cy="537882"/>
          </a:xfrm>
          <a:prstGeom prst="rect">
            <a:avLst/>
          </a:prstGeom>
          <a:noFill/>
          <a:ln w="28575">
            <a:solidFill>
              <a:srgbClr val="C41A3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b="1" dirty="0">
                <a:solidFill>
                  <a:srgbClr val="C41A30"/>
                </a:solidFill>
              </a:rPr>
              <a:t>不許複製</a:t>
            </a:r>
          </a:p>
        </p:txBody>
      </p:sp>
    </p:spTree>
    <p:extLst>
      <p:ext uri="{BB962C8B-B14F-4D97-AF65-F5344CB8AC3E}">
        <p14:creationId xmlns:p14="http://schemas.microsoft.com/office/powerpoint/2010/main" val="8165177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8CC551AC-C476-9F69-B27C-A81568E66B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328" y="298046"/>
            <a:ext cx="8543925" cy="456669"/>
          </a:xfrm>
        </p:spPr>
        <p:txBody>
          <a:bodyPr/>
          <a:lstStyle/>
          <a:p>
            <a:r>
              <a:rPr kumimoji="1" lang="ja-JP" altLang="en-US" sz="2400" dirty="0"/>
              <a:t>自分の解答手順・時間配分</a:t>
            </a:r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E5B6C750-06FB-6C01-A6DC-C992A51C98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F52EA5-8B9E-4767-87D1-0AECA1F41472}" type="slidenum">
              <a:rPr lang="ja-JP" altLang="en-US" smtClean="0"/>
              <a:pPr/>
              <a:t>2</a:t>
            </a:fld>
            <a:endParaRPr lang="ja-JP" altLang="en-US"/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D5F6769F-A1EF-4F4C-3EF4-887D5E1AE869}"/>
              </a:ext>
            </a:extLst>
          </p:cNvPr>
          <p:cNvSpPr txBox="1">
            <a:spLocks/>
          </p:cNvSpPr>
          <p:nvPr/>
        </p:nvSpPr>
        <p:spPr>
          <a:xfrm>
            <a:off x="682328" y="942496"/>
            <a:ext cx="8543925" cy="697338"/>
          </a:xfrm>
          <a:prstGeom prst="rect">
            <a:avLst/>
          </a:prstGeom>
        </p:spPr>
        <p:txBody>
          <a:bodyPr anchor="ctr"/>
          <a:lstStyle>
            <a:lvl1pPr algn="l" defTabSz="742950" rtl="0" eaLnBrk="1" latinLnBrk="0" hangingPunct="1">
              <a:lnSpc>
                <a:spcPts val="2600"/>
              </a:lnSpc>
              <a:spcBef>
                <a:spcPts val="600"/>
              </a:spcBef>
              <a:buNone/>
              <a:defRPr kumimoji="1" sz="2000" b="1" kern="120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+mj-cs"/>
              </a:defRPr>
            </a:lvl1pPr>
          </a:lstStyle>
          <a:p>
            <a:pPr>
              <a:lnSpc>
                <a:spcPts val="2000"/>
              </a:lnSpc>
              <a:spcBef>
                <a:spcPts val="300"/>
              </a:spcBef>
            </a:pPr>
            <a:r>
              <a:rPr lang="ja-JP" altLang="en-US" sz="1800" b="0" dirty="0"/>
              <a:t>試験時間（</a:t>
            </a:r>
            <a:r>
              <a:rPr lang="en-US" altLang="ja-JP" sz="1800" b="0" dirty="0"/>
              <a:t>80</a:t>
            </a:r>
            <a:r>
              <a:rPr lang="ja-JP" altLang="en-US" sz="1800" b="0" dirty="0"/>
              <a:t>分）の間に行うタスクと、時間配分を決めましょう。</a:t>
            </a:r>
            <a:endParaRPr lang="en-US" altLang="ja-JP" sz="1800" b="0" dirty="0"/>
          </a:p>
          <a:p>
            <a:pPr>
              <a:lnSpc>
                <a:spcPts val="2000"/>
              </a:lnSpc>
              <a:spcBef>
                <a:spcPts val="300"/>
              </a:spcBef>
            </a:pPr>
            <a:r>
              <a:rPr lang="ja-JP" altLang="en-US" sz="1800" b="0" dirty="0"/>
              <a:t>タスクと時間配分は、</a:t>
            </a:r>
            <a:r>
              <a:rPr lang="ja-JP" altLang="en-US" sz="1800" dirty="0"/>
              <a:t>演習を重ねながら見直しましょう</a:t>
            </a:r>
            <a:r>
              <a:rPr lang="ja-JP" altLang="en-US" sz="1800" b="0" dirty="0"/>
              <a:t>。</a:t>
            </a:r>
            <a:endParaRPr lang="en-US" altLang="ja-JP" sz="1800" b="0" dirty="0"/>
          </a:p>
        </p:txBody>
      </p:sp>
      <p:graphicFrame>
        <p:nvGraphicFramePr>
          <p:cNvPr id="4" name="表 3">
            <a:extLst>
              <a:ext uri="{FF2B5EF4-FFF2-40B4-BE49-F238E27FC236}">
                <a16:creationId xmlns:a16="http://schemas.microsoft.com/office/drawing/2014/main" id="{8A4E7ED2-0C57-ABDE-0C0D-7301C571EE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4168868"/>
              </p:ext>
            </p:extLst>
          </p:nvPr>
        </p:nvGraphicFramePr>
        <p:xfrm>
          <a:off x="682328" y="1966501"/>
          <a:ext cx="8223547" cy="402985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98772">
                  <a:extLst>
                    <a:ext uri="{9D8B030D-6E8A-4147-A177-3AD203B41FA5}">
                      <a16:colId xmlns:a16="http://schemas.microsoft.com/office/drawing/2014/main" val="3436091690"/>
                    </a:ext>
                  </a:extLst>
                </a:gridCol>
                <a:gridCol w="2895600">
                  <a:extLst>
                    <a:ext uri="{9D8B030D-6E8A-4147-A177-3AD203B41FA5}">
                      <a16:colId xmlns:a16="http://schemas.microsoft.com/office/drawing/2014/main" val="910889750"/>
                    </a:ext>
                  </a:extLst>
                </a:gridCol>
                <a:gridCol w="1200150">
                  <a:extLst>
                    <a:ext uri="{9D8B030D-6E8A-4147-A177-3AD203B41FA5}">
                      <a16:colId xmlns:a16="http://schemas.microsoft.com/office/drawing/2014/main" val="578762427"/>
                    </a:ext>
                  </a:extLst>
                </a:gridCol>
                <a:gridCol w="3629025">
                  <a:extLst>
                    <a:ext uri="{9D8B030D-6E8A-4147-A177-3AD203B41FA5}">
                      <a16:colId xmlns:a16="http://schemas.microsoft.com/office/drawing/2014/main" val="114225766"/>
                    </a:ext>
                  </a:extLst>
                </a:gridCol>
              </a:tblGrid>
              <a:tr h="366350">
                <a:tc gridSpan="2">
                  <a:txBody>
                    <a:bodyPr/>
                    <a:lstStyle/>
                    <a:p>
                      <a:pPr algn="ctr"/>
                      <a:r>
                        <a:rPr kumimoji="1" lang="ja-JP" altLang="en-US" b="1" dirty="0">
                          <a:solidFill>
                            <a:schemeClr val="bg1"/>
                          </a:solidFill>
                        </a:rPr>
                        <a:t>タスク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b="1" dirty="0">
                          <a:solidFill>
                            <a:schemeClr val="bg1"/>
                          </a:solidFill>
                        </a:rPr>
                        <a:t>時間配分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b="1" dirty="0">
                          <a:solidFill>
                            <a:schemeClr val="bg1"/>
                          </a:solidFill>
                        </a:rPr>
                        <a:t>注意点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698200"/>
                  </a:ext>
                </a:extLst>
              </a:tr>
              <a:tr h="36635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1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5091334"/>
                  </a:ext>
                </a:extLst>
              </a:tr>
              <a:tr h="36635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2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4539875"/>
                  </a:ext>
                </a:extLst>
              </a:tr>
              <a:tr h="36635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3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6707367"/>
                  </a:ext>
                </a:extLst>
              </a:tr>
              <a:tr h="36635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4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8058962"/>
                  </a:ext>
                </a:extLst>
              </a:tr>
              <a:tr h="36635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5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4948917"/>
                  </a:ext>
                </a:extLst>
              </a:tr>
              <a:tr h="36635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6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1134870"/>
                  </a:ext>
                </a:extLst>
              </a:tr>
              <a:tr h="36635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7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3403148"/>
                  </a:ext>
                </a:extLst>
              </a:tr>
              <a:tr h="36635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8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30637"/>
                  </a:ext>
                </a:extLst>
              </a:tr>
              <a:tr h="36635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9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222487"/>
                  </a:ext>
                </a:extLst>
              </a:tr>
              <a:tr h="36635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10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84431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717675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8CC551AC-C476-9F69-B27C-A81568E66B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328" y="298046"/>
            <a:ext cx="8543925" cy="456669"/>
          </a:xfrm>
        </p:spPr>
        <p:txBody>
          <a:bodyPr/>
          <a:lstStyle/>
          <a:p>
            <a:r>
              <a:rPr kumimoji="1" lang="ja-JP" altLang="en-US" sz="2400" dirty="0"/>
              <a:t>自分の解答手順・時間配分</a:t>
            </a:r>
            <a:r>
              <a:rPr kumimoji="1" lang="en-US" altLang="ja-JP" sz="2400" dirty="0">
                <a:highlight>
                  <a:srgbClr val="FFFF00"/>
                </a:highlight>
              </a:rPr>
              <a:t>【</a:t>
            </a:r>
            <a:r>
              <a:rPr kumimoji="1" lang="ja-JP" altLang="en-US" sz="2400" dirty="0">
                <a:highlight>
                  <a:srgbClr val="FFFF00"/>
                </a:highlight>
              </a:rPr>
              <a:t>記入例</a:t>
            </a:r>
            <a:r>
              <a:rPr kumimoji="1" lang="en-US" altLang="ja-JP" sz="2400" dirty="0">
                <a:highlight>
                  <a:srgbClr val="FFFF00"/>
                </a:highlight>
              </a:rPr>
              <a:t>】</a:t>
            </a:r>
            <a:endParaRPr kumimoji="1" lang="ja-JP" altLang="en-US" sz="2400" dirty="0">
              <a:highlight>
                <a:srgbClr val="FFFF00"/>
              </a:highlight>
            </a:endParaRPr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E5B6C750-06FB-6C01-A6DC-C992A51C98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F52EA5-8B9E-4767-87D1-0AECA1F41472}" type="slidenum">
              <a:rPr lang="ja-JP" altLang="en-US" smtClean="0"/>
              <a:pPr/>
              <a:t>3</a:t>
            </a:fld>
            <a:endParaRPr lang="ja-JP" altLang="en-US"/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D5F6769F-A1EF-4F4C-3EF4-887D5E1AE869}"/>
              </a:ext>
            </a:extLst>
          </p:cNvPr>
          <p:cNvSpPr txBox="1">
            <a:spLocks/>
          </p:cNvSpPr>
          <p:nvPr/>
        </p:nvSpPr>
        <p:spPr>
          <a:xfrm>
            <a:off x="682328" y="942496"/>
            <a:ext cx="8543925" cy="697338"/>
          </a:xfrm>
          <a:prstGeom prst="rect">
            <a:avLst/>
          </a:prstGeom>
        </p:spPr>
        <p:txBody>
          <a:bodyPr anchor="ctr"/>
          <a:lstStyle>
            <a:lvl1pPr algn="l" defTabSz="742950" rtl="0" eaLnBrk="1" latinLnBrk="0" hangingPunct="1">
              <a:lnSpc>
                <a:spcPts val="2600"/>
              </a:lnSpc>
              <a:spcBef>
                <a:spcPts val="600"/>
              </a:spcBef>
              <a:buNone/>
              <a:defRPr kumimoji="1" sz="2000" b="1" kern="120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+mj-cs"/>
              </a:defRPr>
            </a:lvl1pPr>
          </a:lstStyle>
          <a:p>
            <a:pPr>
              <a:lnSpc>
                <a:spcPts val="2000"/>
              </a:lnSpc>
              <a:spcBef>
                <a:spcPts val="300"/>
              </a:spcBef>
            </a:pPr>
            <a:r>
              <a:rPr lang="ja-JP" altLang="en-US" sz="1800" b="0" dirty="0"/>
              <a:t>試験時間（</a:t>
            </a:r>
            <a:r>
              <a:rPr lang="en-US" altLang="ja-JP" sz="1800" b="0" dirty="0"/>
              <a:t>80</a:t>
            </a:r>
            <a:r>
              <a:rPr lang="ja-JP" altLang="en-US" sz="1800" b="0" dirty="0"/>
              <a:t>分）の間に行うタスクと、時間配分を決めましょう。</a:t>
            </a:r>
            <a:endParaRPr lang="en-US" altLang="ja-JP" sz="1800" b="0" dirty="0"/>
          </a:p>
          <a:p>
            <a:pPr>
              <a:lnSpc>
                <a:spcPts val="2000"/>
              </a:lnSpc>
              <a:spcBef>
                <a:spcPts val="300"/>
              </a:spcBef>
            </a:pPr>
            <a:r>
              <a:rPr lang="ja-JP" altLang="en-US" sz="1800" b="0" dirty="0"/>
              <a:t>タスクと時間配分は、</a:t>
            </a:r>
            <a:r>
              <a:rPr lang="ja-JP" altLang="en-US" sz="1800" dirty="0"/>
              <a:t>演習を重ねながら見直しましょう</a:t>
            </a:r>
            <a:r>
              <a:rPr lang="ja-JP" altLang="en-US" sz="1800" b="0" dirty="0"/>
              <a:t>。</a:t>
            </a:r>
            <a:endParaRPr lang="en-US" altLang="ja-JP" sz="1800" b="0" dirty="0"/>
          </a:p>
        </p:txBody>
      </p:sp>
      <p:graphicFrame>
        <p:nvGraphicFramePr>
          <p:cNvPr id="4" name="表 3">
            <a:extLst>
              <a:ext uri="{FF2B5EF4-FFF2-40B4-BE49-F238E27FC236}">
                <a16:creationId xmlns:a16="http://schemas.microsoft.com/office/drawing/2014/main" id="{8A4E7ED2-0C57-ABDE-0C0D-7301C571EE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3612408"/>
              </p:ext>
            </p:extLst>
          </p:nvPr>
        </p:nvGraphicFramePr>
        <p:xfrm>
          <a:off x="682328" y="1966501"/>
          <a:ext cx="8223547" cy="402985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98772">
                  <a:extLst>
                    <a:ext uri="{9D8B030D-6E8A-4147-A177-3AD203B41FA5}">
                      <a16:colId xmlns:a16="http://schemas.microsoft.com/office/drawing/2014/main" val="3436091690"/>
                    </a:ext>
                  </a:extLst>
                </a:gridCol>
                <a:gridCol w="2895600">
                  <a:extLst>
                    <a:ext uri="{9D8B030D-6E8A-4147-A177-3AD203B41FA5}">
                      <a16:colId xmlns:a16="http://schemas.microsoft.com/office/drawing/2014/main" val="910889750"/>
                    </a:ext>
                  </a:extLst>
                </a:gridCol>
                <a:gridCol w="1200150">
                  <a:extLst>
                    <a:ext uri="{9D8B030D-6E8A-4147-A177-3AD203B41FA5}">
                      <a16:colId xmlns:a16="http://schemas.microsoft.com/office/drawing/2014/main" val="578762427"/>
                    </a:ext>
                  </a:extLst>
                </a:gridCol>
                <a:gridCol w="3629025">
                  <a:extLst>
                    <a:ext uri="{9D8B030D-6E8A-4147-A177-3AD203B41FA5}">
                      <a16:colId xmlns:a16="http://schemas.microsoft.com/office/drawing/2014/main" val="114225766"/>
                    </a:ext>
                  </a:extLst>
                </a:gridCol>
              </a:tblGrid>
              <a:tr h="366350">
                <a:tc gridSpan="2">
                  <a:txBody>
                    <a:bodyPr/>
                    <a:lstStyle/>
                    <a:p>
                      <a:pPr algn="ctr"/>
                      <a:r>
                        <a:rPr kumimoji="1" lang="ja-JP" altLang="en-US" b="1" dirty="0">
                          <a:solidFill>
                            <a:schemeClr val="bg1"/>
                          </a:solidFill>
                        </a:rPr>
                        <a:t>タスク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b="1" dirty="0">
                          <a:solidFill>
                            <a:schemeClr val="bg1"/>
                          </a:solidFill>
                        </a:rPr>
                        <a:t>時間配分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b="1" dirty="0">
                          <a:solidFill>
                            <a:schemeClr val="bg1"/>
                          </a:solidFill>
                        </a:rPr>
                        <a:t>注意点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698200"/>
                  </a:ext>
                </a:extLst>
              </a:tr>
              <a:tr h="36635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1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dirty="0"/>
                        <a:t>メモ用紙を作る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kumimoji="1" lang="en-US" altLang="ja-JP" dirty="0"/>
                        <a:t>1</a:t>
                      </a:r>
                      <a:r>
                        <a:rPr kumimoji="1" lang="ja-JP" altLang="en-US" dirty="0"/>
                        <a:t>分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5091334"/>
                  </a:ext>
                </a:extLst>
              </a:tr>
              <a:tr h="36635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2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dirty="0"/>
                        <a:t>設問文を読む（</a:t>
                      </a:r>
                      <a:r>
                        <a:rPr kumimoji="1" lang="en-US" altLang="ja-JP" dirty="0"/>
                        <a:t>1</a:t>
                      </a:r>
                      <a:r>
                        <a:rPr kumimoji="1" lang="ja-JP" altLang="en-US" dirty="0"/>
                        <a:t>問</a:t>
                      </a:r>
                      <a:r>
                        <a:rPr kumimoji="1" lang="en-US" altLang="ja-JP" dirty="0"/>
                        <a:t>1</a:t>
                      </a:r>
                      <a:r>
                        <a:rPr kumimoji="1" lang="ja-JP" altLang="en-US" dirty="0"/>
                        <a:t>分）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kumimoji="1" lang="en-US" altLang="ja-JP" dirty="0"/>
                        <a:t>4</a:t>
                      </a:r>
                      <a:r>
                        <a:rPr kumimoji="1" lang="ja-JP" altLang="en-US" dirty="0"/>
                        <a:t>分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dirty="0"/>
                        <a:t>制約条件がある場合、マーカーを引く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4539875"/>
                  </a:ext>
                </a:extLst>
              </a:tr>
              <a:tr h="36635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3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dirty="0"/>
                        <a:t>与件文を一読する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kumimoji="1" lang="en-US" altLang="ja-JP" dirty="0"/>
                        <a:t>10</a:t>
                      </a:r>
                      <a:r>
                        <a:rPr kumimoji="1" lang="ja-JP" altLang="en-US" dirty="0"/>
                        <a:t>分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41A3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dirty="0"/>
                        <a:t>解答に使えそうな要素にマーカーを引く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6707367"/>
                  </a:ext>
                </a:extLst>
              </a:tr>
              <a:tr h="36635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4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dirty="0"/>
                        <a:t>答案作成（①文章の型を作る）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41A3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kumimoji="1" lang="en-US" altLang="ja-JP" dirty="0"/>
                        <a:t>2</a:t>
                      </a:r>
                      <a:r>
                        <a:rPr kumimoji="1" lang="ja-JP" altLang="en-US" dirty="0"/>
                        <a:t>分</a:t>
                      </a:r>
                    </a:p>
                  </a:txBody>
                  <a:tcPr anchor="ctr">
                    <a:lnL w="19050" cap="flat" cmpd="sng" algn="ctr">
                      <a:solidFill>
                        <a:srgbClr val="C41A3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41A3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41A3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dirty="0"/>
                        <a:t>設問の要求事項に答えているかを意識</a:t>
                      </a:r>
                    </a:p>
                  </a:txBody>
                  <a:tcPr anchor="ctr">
                    <a:lnL w="19050" cap="flat" cmpd="sng" algn="ctr">
                      <a:solidFill>
                        <a:srgbClr val="C41A3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8058962"/>
                  </a:ext>
                </a:extLst>
              </a:tr>
              <a:tr h="36635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5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dirty="0"/>
                        <a:t>答案作成（②答えを探す）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41A3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kumimoji="1" lang="en-US" altLang="ja-JP" dirty="0"/>
                        <a:t>6</a:t>
                      </a:r>
                      <a:r>
                        <a:rPr kumimoji="1" lang="ja-JP" altLang="en-US" dirty="0"/>
                        <a:t>分</a:t>
                      </a:r>
                    </a:p>
                  </a:txBody>
                  <a:tcPr anchor="ctr">
                    <a:lnL w="19050" cap="flat" cmpd="sng" algn="ctr">
                      <a:solidFill>
                        <a:srgbClr val="C41A3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41A3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dirty="0"/>
                        <a:t>与件文→基礎知識→推測の順に探す</a:t>
                      </a:r>
                    </a:p>
                  </a:txBody>
                  <a:tcPr anchor="ctr">
                    <a:lnL w="19050" cap="flat" cmpd="sng" algn="ctr">
                      <a:solidFill>
                        <a:srgbClr val="C41A3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4948917"/>
                  </a:ext>
                </a:extLst>
              </a:tr>
              <a:tr h="36635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6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dirty="0"/>
                        <a:t>答案作成（③文章化する）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41A3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kumimoji="1" lang="en-US" altLang="ja-JP" dirty="0"/>
                        <a:t>4</a:t>
                      </a:r>
                      <a:r>
                        <a:rPr kumimoji="1" lang="ja-JP" altLang="en-US" dirty="0"/>
                        <a:t>分</a:t>
                      </a:r>
                    </a:p>
                  </a:txBody>
                  <a:tcPr anchor="ctr">
                    <a:lnL w="19050" cap="flat" cmpd="sng" algn="ctr">
                      <a:solidFill>
                        <a:srgbClr val="C41A3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C41A3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C41A3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dirty="0"/>
                        <a:t>字数制限の</a:t>
                      </a:r>
                      <a:r>
                        <a:rPr kumimoji="1" lang="en-US" altLang="ja-JP" dirty="0"/>
                        <a:t>9</a:t>
                      </a:r>
                      <a:r>
                        <a:rPr kumimoji="1" lang="ja-JP" altLang="en-US" dirty="0"/>
                        <a:t>割以上は書く</a:t>
                      </a:r>
                    </a:p>
                  </a:txBody>
                  <a:tcPr anchor="ctr">
                    <a:lnL w="19050" cap="flat" cmpd="sng" algn="ctr">
                      <a:solidFill>
                        <a:srgbClr val="C41A3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1134870"/>
                  </a:ext>
                </a:extLst>
              </a:tr>
              <a:tr h="36635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7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dirty="0"/>
                        <a:t>見直し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kumimoji="1" lang="en-US" altLang="ja-JP" dirty="0"/>
                        <a:t>5</a:t>
                      </a:r>
                      <a:r>
                        <a:rPr kumimoji="1" lang="ja-JP" altLang="en-US" dirty="0"/>
                        <a:t>分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C41A3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dirty="0"/>
                        <a:t>誤字・脱字を確認する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3403148"/>
                  </a:ext>
                </a:extLst>
              </a:tr>
              <a:tr h="36635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8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30637"/>
                  </a:ext>
                </a:extLst>
              </a:tr>
              <a:tr h="36635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9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222487"/>
                  </a:ext>
                </a:extLst>
              </a:tr>
              <a:tr h="36635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10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8443105"/>
                  </a:ext>
                </a:extLst>
              </a:tr>
            </a:tbl>
          </a:graphicData>
        </a:graphic>
      </p:graphicFrame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390EEA0A-B26D-3D44-3BB6-B7FE7B21C592}"/>
              </a:ext>
            </a:extLst>
          </p:cNvPr>
          <p:cNvSpPr/>
          <p:nvPr/>
        </p:nvSpPr>
        <p:spPr>
          <a:xfrm>
            <a:off x="2779778" y="4959706"/>
            <a:ext cx="1931211" cy="438912"/>
          </a:xfrm>
          <a:prstGeom prst="rect">
            <a:avLst/>
          </a:prstGeom>
          <a:solidFill>
            <a:schemeClr val="bg1"/>
          </a:solidFill>
          <a:ln w="19050">
            <a:solidFill>
              <a:srgbClr val="C41A3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300"/>
              </a:spcAft>
            </a:pPr>
            <a:r>
              <a:rPr kumimoji="1" lang="en-US" altLang="ja-JP" sz="1400" dirty="0">
                <a:solidFill>
                  <a:schemeClr val="tx1"/>
                </a:solidFill>
              </a:rPr>
              <a:t>1</a:t>
            </a:r>
            <a:r>
              <a:rPr kumimoji="1" lang="ja-JP" altLang="en-US" sz="1400" dirty="0">
                <a:solidFill>
                  <a:schemeClr val="tx1"/>
                </a:solidFill>
              </a:rPr>
              <a:t>問</a:t>
            </a:r>
            <a:r>
              <a:rPr kumimoji="1" lang="en-US" altLang="ja-JP" sz="1400" dirty="0">
                <a:solidFill>
                  <a:schemeClr val="tx1"/>
                </a:solidFill>
              </a:rPr>
              <a:t>12</a:t>
            </a:r>
            <a:r>
              <a:rPr kumimoji="1" lang="ja-JP" altLang="en-US" sz="1400" dirty="0">
                <a:solidFill>
                  <a:schemeClr val="tx1"/>
                </a:solidFill>
              </a:rPr>
              <a:t>分</a:t>
            </a:r>
            <a:r>
              <a:rPr kumimoji="1" lang="en-US" altLang="ja-JP" sz="1400" dirty="0">
                <a:solidFill>
                  <a:schemeClr val="tx1"/>
                </a:solidFill>
              </a:rPr>
              <a:t>×5</a:t>
            </a:r>
            <a:r>
              <a:rPr kumimoji="1" lang="ja-JP" altLang="en-US" sz="1400" dirty="0">
                <a:solidFill>
                  <a:schemeClr val="tx1"/>
                </a:solidFill>
              </a:rPr>
              <a:t>問＝</a:t>
            </a:r>
            <a:r>
              <a:rPr kumimoji="1" lang="en-US" altLang="ja-JP" sz="1400" dirty="0">
                <a:solidFill>
                  <a:schemeClr val="tx1"/>
                </a:solidFill>
              </a:rPr>
              <a:t>60</a:t>
            </a:r>
            <a:r>
              <a:rPr kumimoji="1" lang="ja-JP" altLang="en-US" sz="1400" dirty="0">
                <a:solidFill>
                  <a:schemeClr val="tx1"/>
                </a:solidFill>
              </a:rPr>
              <a:t>分</a:t>
            </a:r>
            <a:endParaRPr kumimoji="1" lang="en-US" altLang="ja-JP" sz="1400" dirty="0">
              <a:solidFill>
                <a:schemeClr val="tx1"/>
              </a:solidFill>
            </a:endParaRPr>
          </a:p>
        </p:txBody>
      </p:sp>
      <p:cxnSp>
        <p:nvCxnSpPr>
          <p:cNvPr id="10" name="直線矢印コネクタ 9">
            <a:extLst>
              <a:ext uri="{FF2B5EF4-FFF2-40B4-BE49-F238E27FC236}">
                <a16:creationId xmlns:a16="http://schemas.microsoft.com/office/drawing/2014/main" id="{1E3E090C-BADC-BECF-20F6-E0AA7383E41E}"/>
              </a:ext>
            </a:extLst>
          </p:cNvPr>
          <p:cNvCxnSpPr>
            <a:cxnSpLocks/>
            <a:stCxn id="8" idx="0"/>
          </p:cNvCxnSpPr>
          <p:nvPr/>
        </p:nvCxnSpPr>
        <p:spPr>
          <a:xfrm flipV="1">
            <a:off x="3745384" y="4557370"/>
            <a:ext cx="863192" cy="402336"/>
          </a:xfrm>
          <a:prstGeom prst="straightConnector1">
            <a:avLst/>
          </a:prstGeom>
          <a:ln w="19050">
            <a:solidFill>
              <a:srgbClr val="C41A3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85988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8CC551AC-C476-9F69-B27C-A81568E66B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328" y="298046"/>
            <a:ext cx="8543925" cy="456669"/>
          </a:xfrm>
        </p:spPr>
        <p:txBody>
          <a:bodyPr/>
          <a:lstStyle/>
          <a:p>
            <a:r>
              <a:rPr kumimoji="1" lang="ja-JP" altLang="en-US" sz="2400" dirty="0"/>
              <a:t>演習スケジュール</a:t>
            </a:r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E5B6C750-06FB-6C01-A6DC-C992A51C98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F52EA5-8B9E-4767-87D1-0AECA1F41472}" type="slidenum">
              <a:rPr lang="ja-JP" altLang="en-US" smtClean="0"/>
              <a:pPr/>
              <a:t>4</a:t>
            </a:fld>
            <a:endParaRPr lang="ja-JP" altLang="en-US"/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D5F6769F-A1EF-4F4C-3EF4-887D5E1AE869}"/>
              </a:ext>
            </a:extLst>
          </p:cNvPr>
          <p:cNvSpPr txBox="1">
            <a:spLocks/>
          </p:cNvSpPr>
          <p:nvPr/>
        </p:nvSpPr>
        <p:spPr>
          <a:xfrm>
            <a:off x="682328" y="942496"/>
            <a:ext cx="8543925" cy="697338"/>
          </a:xfrm>
          <a:prstGeom prst="rect">
            <a:avLst/>
          </a:prstGeom>
        </p:spPr>
        <p:txBody>
          <a:bodyPr anchor="ctr"/>
          <a:lstStyle>
            <a:lvl1pPr algn="l" defTabSz="742950" rtl="0" eaLnBrk="1" latinLnBrk="0" hangingPunct="1">
              <a:lnSpc>
                <a:spcPts val="2600"/>
              </a:lnSpc>
              <a:spcBef>
                <a:spcPts val="600"/>
              </a:spcBef>
              <a:buNone/>
              <a:defRPr kumimoji="1" sz="2000" b="1" kern="120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+mj-cs"/>
              </a:defRPr>
            </a:lvl1pPr>
          </a:lstStyle>
          <a:p>
            <a:pPr>
              <a:lnSpc>
                <a:spcPts val="2000"/>
              </a:lnSpc>
              <a:spcBef>
                <a:spcPts val="300"/>
              </a:spcBef>
            </a:pPr>
            <a:r>
              <a:rPr lang="ja-JP" altLang="en-US" sz="1800" b="0" dirty="0"/>
              <a:t>過去問演習のスケジュールを組みましょう。</a:t>
            </a:r>
            <a:endParaRPr lang="en-US" altLang="ja-JP" sz="1800" b="0" dirty="0"/>
          </a:p>
          <a:p>
            <a:pPr>
              <a:lnSpc>
                <a:spcPts val="2000"/>
              </a:lnSpc>
              <a:spcBef>
                <a:spcPts val="300"/>
              </a:spcBef>
            </a:pPr>
            <a:r>
              <a:rPr lang="ja-JP" altLang="en-US" sz="1800" b="0" dirty="0"/>
              <a:t>スケジュール通りに演習を実行できたかを記録しましょう。</a:t>
            </a:r>
            <a:endParaRPr lang="en-US" altLang="ja-JP" sz="1800" b="0" dirty="0"/>
          </a:p>
        </p:txBody>
      </p:sp>
      <p:graphicFrame>
        <p:nvGraphicFramePr>
          <p:cNvPr id="4" name="表 3">
            <a:extLst>
              <a:ext uri="{FF2B5EF4-FFF2-40B4-BE49-F238E27FC236}">
                <a16:creationId xmlns:a16="http://schemas.microsoft.com/office/drawing/2014/main" id="{8A4E7ED2-0C57-ABDE-0C0D-7301C571EE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6380937"/>
              </p:ext>
            </p:extLst>
          </p:nvPr>
        </p:nvGraphicFramePr>
        <p:xfrm>
          <a:off x="682328" y="1966501"/>
          <a:ext cx="4203996" cy="420083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17418">
                  <a:extLst>
                    <a:ext uri="{9D8B030D-6E8A-4147-A177-3AD203B41FA5}">
                      <a16:colId xmlns:a16="http://schemas.microsoft.com/office/drawing/2014/main" val="578762427"/>
                    </a:ext>
                  </a:extLst>
                </a:gridCol>
                <a:gridCol w="727852">
                  <a:extLst>
                    <a:ext uri="{9D8B030D-6E8A-4147-A177-3AD203B41FA5}">
                      <a16:colId xmlns:a16="http://schemas.microsoft.com/office/drawing/2014/main" val="114225766"/>
                    </a:ext>
                  </a:extLst>
                </a:gridCol>
                <a:gridCol w="1529363">
                  <a:extLst>
                    <a:ext uri="{9D8B030D-6E8A-4147-A177-3AD203B41FA5}">
                      <a16:colId xmlns:a16="http://schemas.microsoft.com/office/drawing/2014/main" val="3817472641"/>
                    </a:ext>
                  </a:extLst>
                </a:gridCol>
                <a:gridCol w="1529363">
                  <a:extLst>
                    <a:ext uri="{9D8B030D-6E8A-4147-A177-3AD203B41FA5}">
                      <a16:colId xmlns:a16="http://schemas.microsoft.com/office/drawing/2014/main" val="2572873892"/>
                    </a:ext>
                  </a:extLst>
                </a:gridCol>
              </a:tblGrid>
              <a:tr h="36635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b="1" dirty="0">
                          <a:solidFill>
                            <a:schemeClr val="bg1"/>
                          </a:solidFill>
                        </a:rPr>
                        <a:t>事例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b="1" dirty="0">
                          <a:solidFill>
                            <a:schemeClr val="bg1"/>
                          </a:solidFill>
                        </a:rPr>
                        <a:t>年度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b="1" dirty="0">
                          <a:solidFill>
                            <a:schemeClr val="bg1"/>
                          </a:solidFill>
                        </a:rPr>
                        <a:t>演習予定日時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b="1" dirty="0">
                          <a:solidFill>
                            <a:schemeClr val="bg1"/>
                          </a:solidFill>
                        </a:rPr>
                        <a:t>演習実施日時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698200"/>
                  </a:ext>
                </a:extLst>
              </a:tr>
              <a:tr h="366350">
                <a:tc rowSpan="5"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Ⅰ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2023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5091334"/>
                  </a:ext>
                </a:extLst>
              </a:tr>
              <a:tr h="366350">
                <a:tc vMerge="1"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2022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4539875"/>
                  </a:ext>
                </a:extLst>
              </a:tr>
              <a:tr h="366350">
                <a:tc vMerge="1"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2021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6707367"/>
                  </a:ext>
                </a:extLst>
              </a:tr>
              <a:tr h="366350">
                <a:tc vMerge="1"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2020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8058962"/>
                  </a:ext>
                </a:extLst>
              </a:tr>
              <a:tr h="366350">
                <a:tc vMerge="1"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2019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4948917"/>
                  </a:ext>
                </a:extLst>
              </a:tr>
              <a:tr h="366350">
                <a:tc rowSpan="5">
                  <a:txBody>
                    <a:bodyPr/>
                    <a:lstStyle/>
                    <a:p>
                      <a:pPr marL="0" marR="0" lvl="0" indent="0" algn="ctr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dirty="0"/>
                        <a:t>Ⅱ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2023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1134870"/>
                  </a:ext>
                </a:extLst>
              </a:tr>
              <a:tr h="366350">
                <a:tc vMerge="1"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2022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3403148"/>
                  </a:ext>
                </a:extLst>
              </a:tr>
              <a:tr h="366350">
                <a:tc vMerge="1"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2021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30637"/>
                  </a:ext>
                </a:extLst>
              </a:tr>
              <a:tr h="366350">
                <a:tc vMerge="1"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2020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222487"/>
                  </a:ext>
                </a:extLst>
              </a:tr>
              <a:tr h="366350">
                <a:tc vMerge="1"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2019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8443105"/>
                  </a:ext>
                </a:extLst>
              </a:tr>
            </a:tbl>
          </a:graphicData>
        </a:graphic>
      </p:graphicFrame>
      <p:graphicFrame>
        <p:nvGraphicFramePr>
          <p:cNvPr id="3" name="表 2">
            <a:extLst>
              <a:ext uri="{FF2B5EF4-FFF2-40B4-BE49-F238E27FC236}">
                <a16:creationId xmlns:a16="http://schemas.microsoft.com/office/drawing/2014/main" id="{12A69711-3F54-C279-0BC8-2D2D6C7DEF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3059051"/>
              </p:ext>
            </p:extLst>
          </p:nvPr>
        </p:nvGraphicFramePr>
        <p:xfrm>
          <a:off x="5019676" y="1966501"/>
          <a:ext cx="4203996" cy="420083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17418">
                  <a:extLst>
                    <a:ext uri="{9D8B030D-6E8A-4147-A177-3AD203B41FA5}">
                      <a16:colId xmlns:a16="http://schemas.microsoft.com/office/drawing/2014/main" val="578762427"/>
                    </a:ext>
                  </a:extLst>
                </a:gridCol>
                <a:gridCol w="727852">
                  <a:extLst>
                    <a:ext uri="{9D8B030D-6E8A-4147-A177-3AD203B41FA5}">
                      <a16:colId xmlns:a16="http://schemas.microsoft.com/office/drawing/2014/main" val="114225766"/>
                    </a:ext>
                  </a:extLst>
                </a:gridCol>
                <a:gridCol w="1529363">
                  <a:extLst>
                    <a:ext uri="{9D8B030D-6E8A-4147-A177-3AD203B41FA5}">
                      <a16:colId xmlns:a16="http://schemas.microsoft.com/office/drawing/2014/main" val="3817472641"/>
                    </a:ext>
                  </a:extLst>
                </a:gridCol>
                <a:gridCol w="1529363">
                  <a:extLst>
                    <a:ext uri="{9D8B030D-6E8A-4147-A177-3AD203B41FA5}">
                      <a16:colId xmlns:a16="http://schemas.microsoft.com/office/drawing/2014/main" val="2572873892"/>
                    </a:ext>
                  </a:extLst>
                </a:gridCol>
              </a:tblGrid>
              <a:tr h="36635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b="1" dirty="0">
                          <a:solidFill>
                            <a:schemeClr val="bg1"/>
                          </a:solidFill>
                        </a:rPr>
                        <a:t>事例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b="1" dirty="0">
                          <a:solidFill>
                            <a:schemeClr val="bg1"/>
                          </a:solidFill>
                        </a:rPr>
                        <a:t>年度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b="1" dirty="0">
                          <a:solidFill>
                            <a:schemeClr val="bg1"/>
                          </a:solidFill>
                        </a:rPr>
                        <a:t>演習予定日時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b="1" dirty="0">
                          <a:solidFill>
                            <a:schemeClr val="bg1"/>
                          </a:solidFill>
                        </a:rPr>
                        <a:t>演習実施日時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698200"/>
                  </a:ext>
                </a:extLst>
              </a:tr>
              <a:tr h="366350">
                <a:tc rowSpan="5"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Ⅲ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2023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5091334"/>
                  </a:ext>
                </a:extLst>
              </a:tr>
              <a:tr h="366350">
                <a:tc vMerge="1"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2022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4539875"/>
                  </a:ext>
                </a:extLst>
              </a:tr>
              <a:tr h="366350">
                <a:tc vMerge="1"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2021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6707367"/>
                  </a:ext>
                </a:extLst>
              </a:tr>
              <a:tr h="366350">
                <a:tc vMerge="1"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2020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8058962"/>
                  </a:ext>
                </a:extLst>
              </a:tr>
              <a:tr h="366350">
                <a:tc vMerge="1"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2019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4948917"/>
                  </a:ext>
                </a:extLst>
              </a:tr>
              <a:tr h="366350">
                <a:tc rowSpan="5">
                  <a:txBody>
                    <a:bodyPr/>
                    <a:lstStyle/>
                    <a:p>
                      <a:pPr marL="0" marR="0" lvl="0" indent="0" algn="ctr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dirty="0"/>
                        <a:t>Ⅳ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2023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1134870"/>
                  </a:ext>
                </a:extLst>
              </a:tr>
              <a:tr h="366350">
                <a:tc vMerge="1"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2022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3403148"/>
                  </a:ext>
                </a:extLst>
              </a:tr>
              <a:tr h="366350">
                <a:tc vMerge="1"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2021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30637"/>
                  </a:ext>
                </a:extLst>
              </a:tr>
              <a:tr h="366350">
                <a:tc vMerge="1"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2020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222487"/>
                  </a:ext>
                </a:extLst>
              </a:tr>
              <a:tr h="366350">
                <a:tc vMerge="1"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2019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84431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59588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8CC551AC-C476-9F69-B27C-A81568E66B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328" y="298046"/>
            <a:ext cx="8543925" cy="456669"/>
          </a:xfrm>
        </p:spPr>
        <p:txBody>
          <a:bodyPr/>
          <a:lstStyle/>
          <a:p>
            <a:r>
              <a:rPr kumimoji="1" lang="ja-JP" altLang="en-US" sz="2400" dirty="0"/>
              <a:t>答案の改善点</a:t>
            </a:r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E5B6C750-06FB-6C01-A6DC-C992A51C98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F52EA5-8B9E-4767-87D1-0AECA1F41472}" type="slidenum">
              <a:rPr lang="ja-JP" altLang="en-US" smtClean="0"/>
              <a:pPr/>
              <a:t>5</a:t>
            </a:fld>
            <a:endParaRPr lang="ja-JP" altLang="en-US"/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D5F6769F-A1EF-4F4C-3EF4-887D5E1AE869}"/>
              </a:ext>
            </a:extLst>
          </p:cNvPr>
          <p:cNvSpPr txBox="1">
            <a:spLocks/>
          </p:cNvSpPr>
          <p:nvPr/>
        </p:nvSpPr>
        <p:spPr>
          <a:xfrm>
            <a:off x="682328" y="942496"/>
            <a:ext cx="8543925" cy="697338"/>
          </a:xfrm>
          <a:prstGeom prst="rect">
            <a:avLst/>
          </a:prstGeom>
        </p:spPr>
        <p:txBody>
          <a:bodyPr anchor="ctr"/>
          <a:lstStyle>
            <a:lvl1pPr algn="l" defTabSz="742950" rtl="0" eaLnBrk="1" latinLnBrk="0" hangingPunct="1">
              <a:lnSpc>
                <a:spcPts val="2600"/>
              </a:lnSpc>
              <a:spcBef>
                <a:spcPts val="600"/>
              </a:spcBef>
              <a:buNone/>
              <a:defRPr kumimoji="1" sz="2000" b="1" kern="120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+mj-cs"/>
              </a:defRPr>
            </a:lvl1pPr>
          </a:lstStyle>
          <a:p>
            <a:pPr>
              <a:lnSpc>
                <a:spcPts val="2400"/>
              </a:lnSpc>
              <a:spcBef>
                <a:spcPts val="300"/>
              </a:spcBef>
            </a:pPr>
            <a:r>
              <a:rPr lang="ja-JP" altLang="en-US" sz="1800" b="0" dirty="0"/>
              <a:t>過去問を解いたら、自分の答案と解答例を比較しましょう。</a:t>
            </a:r>
            <a:endParaRPr lang="en-US" altLang="ja-JP" sz="1800" b="0" dirty="0"/>
          </a:p>
          <a:p>
            <a:pPr>
              <a:lnSpc>
                <a:spcPts val="2400"/>
              </a:lnSpc>
              <a:spcBef>
                <a:spcPts val="300"/>
              </a:spcBef>
            </a:pPr>
            <a:r>
              <a:rPr lang="ja-JP" altLang="en-US" sz="1800" b="0" dirty="0"/>
              <a:t>比較をもとに、自分の</a:t>
            </a:r>
            <a:r>
              <a:rPr lang="ja-JP" altLang="en-US" sz="1800" dirty="0"/>
              <a:t>答案の改善点</a:t>
            </a:r>
            <a:r>
              <a:rPr lang="ja-JP" altLang="en-US" sz="1800" b="0" dirty="0"/>
              <a:t>、次からの</a:t>
            </a:r>
            <a:r>
              <a:rPr lang="ja-JP" altLang="en-US" sz="1800" dirty="0"/>
              <a:t>演習時の注意点</a:t>
            </a:r>
            <a:r>
              <a:rPr lang="ja-JP" altLang="en-US" sz="1800" b="0" dirty="0"/>
              <a:t>を考えます。</a:t>
            </a:r>
            <a:endParaRPr lang="en-US" altLang="ja-JP" sz="1800" b="0" dirty="0"/>
          </a:p>
        </p:txBody>
      </p:sp>
      <p:graphicFrame>
        <p:nvGraphicFramePr>
          <p:cNvPr id="4" name="表 3">
            <a:extLst>
              <a:ext uri="{FF2B5EF4-FFF2-40B4-BE49-F238E27FC236}">
                <a16:creationId xmlns:a16="http://schemas.microsoft.com/office/drawing/2014/main" id="{8A4E7ED2-0C57-ABDE-0C0D-7301C571EE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7926504"/>
              </p:ext>
            </p:extLst>
          </p:nvPr>
        </p:nvGraphicFramePr>
        <p:xfrm>
          <a:off x="682328" y="2281055"/>
          <a:ext cx="8375947" cy="414635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0150">
                  <a:extLst>
                    <a:ext uri="{9D8B030D-6E8A-4147-A177-3AD203B41FA5}">
                      <a16:colId xmlns:a16="http://schemas.microsoft.com/office/drawing/2014/main" val="578762427"/>
                    </a:ext>
                  </a:extLst>
                </a:gridCol>
                <a:gridCol w="7175797">
                  <a:extLst>
                    <a:ext uri="{9D8B030D-6E8A-4147-A177-3AD203B41FA5}">
                      <a16:colId xmlns:a16="http://schemas.microsoft.com/office/drawing/2014/main" val="114225766"/>
                    </a:ext>
                  </a:extLst>
                </a:gridCol>
              </a:tblGrid>
              <a:tr h="36635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b="1" dirty="0">
                          <a:solidFill>
                            <a:schemeClr val="bg1"/>
                          </a:solidFill>
                        </a:rPr>
                        <a:t>設問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b="1" dirty="0">
                          <a:solidFill>
                            <a:schemeClr val="bg1"/>
                          </a:solidFill>
                        </a:rPr>
                        <a:t>改善点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698200"/>
                  </a:ext>
                </a:extLst>
              </a:tr>
              <a:tr h="756000">
                <a:tc>
                  <a:txBody>
                    <a:bodyPr/>
                    <a:lstStyle/>
                    <a:p>
                      <a:pPr algn="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5091334"/>
                  </a:ext>
                </a:extLst>
              </a:tr>
              <a:tr h="756000">
                <a:tc>
                  <a:txBody>
                    <a:bodyPr/>
                    <a:lstStyle/>
                    <a:p>
                      <a:pPr algn="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4539875"/>
                  </a:ext>
                </a:extLst>
              </a:tr>
              <a:tr h="756000">
                <a:tc>
                  <a:txBody>
                    <a:bodyPr/>
                    <a:lstStyle/>
                    <a:p>
                      <a:pPr algn="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6707367"/>
                  </a:ext>
                </a:extLst>
              </a:tr>
              <a:tr h="756000">
                <a:tc>
                  <a:txBody>
                    <a:bodyPr/>
                    <a:lstStyle/>
                    <a:p>
                      <a:pPr algn="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8058962"/>
                  </a:ext>
                </a:extLst>
              </a:tr>
              <a:tr h="756000">
                <a:tc>
                  <a:txBody>
                    <a:bodyPr/>
                    <a:lstStyle/>
                    <a:p>
                      <a:pPr algn="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4948917"/>
                  </a:ext>
                </a:extLst>
              </a:tr>
            </a:tbl>
          </a:graphicData>
        </a:graphic>
      </p:graphicFrame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80E93062-7CE9-CF39-4F4E-96D52AF5EC1F}"/>
              </a:ext>
            </a:extLst>
          </p:cNvPr>
          <p:cNvSpPr txBox="1"/>
          <p:nvPr/>
        </p:nvSpPr>
        <p:spPr>
          <a:xfrm>
            <a:off x="682328" y="1754309"/>
            <a:ext cx="20884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b="1" dirty="0"/>
              <a:t>事例●</a:t>
            </a:r>
            <a:r>
              <a:rPr kumimoji="1" lang="en-US" altLang="ja-JP" b="1" dirty="0"/>
              <a:t>_YYYY</a:t>
            </a:r>
            <a:r>
              <a:rPr kumimoji="1" lang="ja-JP" altLang="en-US" b="1" dirty="0"/>
              <a:t>年度</a:t>
            </a:r>
          </a:p>
        </p:txBody>
      </p:sp>
    </p:spTree>
    <p:extLst>
      <p:ext uri="{BB962C8B-B14F-4D97-AF65-F5344CB8AC3E}">
        <p14:creationId xmlns:p14="http://schemas.microsoft.com/office/powerpoint/2010/main" val="42580544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8CC551AC-C476-9F69-B27C-A81568E66B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328" y="298046"/>
            <a:ext cx="8543925" cy="456669"/>
          </a:xfrm>
        </p:spPr>
        <p:txBody>
          <a:bodyPr/>
          <a:lstStyle/>
          <a:p>
            <a:r>
              <a:rPr kumimoji="1" lang="ja-JP" altLang="en-US" sz="2400" dirty="0"/>
              <a:t>答案の改善点</a:t>
            </a:r>
            <a:r>
              <a:rPr kumimoji="1" lang="en-US" altLang="ja-JP" sz="2400" dirty="0">
                <a:highlight>
                  <a:srgbClr val="FFFF00"/>
                </a:highlight>
              </a:rPr>
              <a:t>【</a:t>
            </a:r>
            <a:r>
              <a:rPr kumimoji="1" lang="ja-JP" altLang="en-US" sz="2400" dirty="0">
                <a:highlight>
                  <a:srgbClr val="FFFF00"/>
                </a:highlight>
              </a:rPr>
              <a:t>記入例</a:t>
            </a:r>
            <a:r>
              <a:rPr kumimoji="1" lang="en-US" altLang="ja-JP" sz="2400" dirty="0">
                <a:highlight>
                  <a:srgbClr val="FFFF00"/>
                </a:highlight>
              </a:rPr>
              <a:t>】</a:t>
            </a:r>
            <a:endParaRPr kumimoji="1" lang="ja-JP" altLang="en-US" sz="2400" dirty="0">
              <a:highlight>
                <a:srgbClr val="FFFF00"/>
              </a:highlight>
            </a:endParaRPr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E5B6C750-06FB-6C01-A6DC-C992A51C98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F52EA5-8B9E-4767-87D1-0AECA1F41472}" type="slidenum">
              <a:rPr lang="ja-JP" altLang="en-US" smtClean="0"/>
              <a:pPr/>
              <a:t>6</a:t>
            </a:fld>
            <a:endParaRPr lang="ja-JP" altLang="en-US"/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D5F6769F-A1EF-4F4C-3EF4-887D5E1AE869}"/>
              </a:ext>
            </a:extLst>
          </p:cNvPr>
          <p:cNvSpPr txBox="1">
            <a:spLocks/>
          </p:cNvSpPr>
          <p:nvPr/>
        </p:nvSpPr>
        <p:spPr>
          <a:xfrm>
            <a:off x="682328" y="942496"/>
            <a:ext cx="8543925" cy="697338"/>
          </a:xfrm>
          <a:prstGeom prst="rect">
            <a:avLst/>
          </a:prstGeom>
        </p:spPr>
        <p:txBody>
          <a:bodyPr anchor="ctr"/>
          <a:lstStyle>
            <a:lvl1pPr algn="l" defTabSz="742950" rtl="0" eaLnBrk="1" latinLnBrk="0" hangingPunct="1">
              <a:lnSpc>
                <a:spcPts val="2600"/>
              </a:lnSpc>
              <a:spcBef>
                <a:spcPts val="600"/>
              </a:spcBef>
              <a:buNone/>
              <a:defRPr kumimoji="1" sz="2000" b="1" kern="120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+mj-cs"/>
              </a:defRPr>
            </a:lvl1pPr>
          </a:lstStyle>
          <a:p>
            <a:pPr>
              <a:lnSpc>
                <a:spcPts val="2400"/>
              </a:lnSpc>
              <a:spcBef>
                <a:spcPts val="300"/>
              </a:spcBef>
            </a:pPr>
            <a:r>
              <a:rPr lang="ja-JP" altLang="en-US" sz="1800" b="0" dirty="0"/>
              <a:t>過去問を解いたら、自分の答案と解答例を比較しましょう。</a:t>
            </a:r>
            <a:endParaRPr lang="en-US" altLang="ja-JP" sz="1800" b="0" dirty="0"/>
          </a:p>
          <a:p>
            <a:pPr>
              <a:lnSpc>
                <a:spcPts val="2400"/>
              </a:lnSpc>
              <a:spcBef>
                <a:spcPts val="300"/>
              </a:spcBef>
            </a:pPr>
            <a:r>
              <a:rPr lang="ja-JP" altLang="en-US" sz="1800" b="0" dirty="0"/>
              <a:t>比較をもとに、自分の</a:t>
            </a:r>
            <a:r>
              <a:rPr lang="ja-JP" altLang="en-US" sz="1800" dirty="0"/>
              <a:t>答案の改善点</a:t>
            </a:r>
            <a:r>
              <a:rPr lang="ja-JP" altLang="en-US" sz="1800" b="0" dirty="0"/>
              <a:t>、次からの</a:t>
            </a:r>
            <a:r>
              <a:rPr lang="ja-JP" altLang="en-US" sz="1800" dirty="0"/>
              <a:t>演習時の注意点</a:t>
            </a:r>
            <a:r>
              <a:rPr lang="ja-JP" altLang="en-US" sz="1800" b="0" dirty="0"/>
              <a:t>を考えます。</a:t>
            </a:r>
            <a:endParaRPr lang="en-US" altLang="ja-JP" sz="1800" b="0" dirty="0"/>
          </a:p>
        </p:txBody>
      </p:sp>
      <p:graphicFrame>
        <p:nvGraphicFramePr>
          <p:cNvPr id="4" name="表 3">
            <a:extLst>
              <a:ext uri="{FF2B5EF4-FFF2-40B4-BE49-F238E27FC236}">
                <a16:creationId xmlns:a16="http://schemas.microsoft.com/office/drawing/2014/main" id="{8A4E7ED2-0C57-ABDE-0C0D-7301C571EE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7235122"/>
              </p:ext>
            </p:extLst>
          </p:nvPr>
        </p:nvGraphicFramePr>
        <p:xfrm>
          <a:off x="682328" y="2281055"/>
          <a:ext cx="8375947" cy="414635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0150">
                  <a:extLst>
                    <a:ext uri="{9D8B030D-6E8A-4147-A177-3AD203B41FA5}">
                      <a16:colId xmlns:a16="http://schemas.microsoft.com/office/drawing/2014/main" val="578762427"/>
                    </a:ext>
                  </a:extLst>
                </a:gridCol>
                <a:gridCol w="7175797">
                  <a:extLst>
                    <a:ext uri="{9D8B030D-6E8A-4147-A177-3AD203B41FA5}">
                      <a16:colId xmlns:a16="http://schemas.microsoft.com/office/drawing/2014/main" val="114225766"/>
                    </a:ext>
                  </a:extLst>
                </a:gridCol>
              </a:tblGrid>
              <a:tr h="36635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b="1" dirty="0">
                          <a:solidFill>
                            <a:schemeClr val="bg1"/>
                          </a:solidFill>
                        </a:rPr>
                        <a:t>設問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b="1" dirty="0">
                          <a:solidFill>
                            <a:schemeClr val="bg1"/>
                          </a:solidFill>
                        </a:rPr>
                        <a:t>改善点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698200"/>
                  </a:ext>
                </a:extLst>
              </a:tr>
              <a:tr h="75600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1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ja-JP" altLang="en-US" sz="1600" dirty="0"/>
                        <a:t>差別化戦略は基本。設問に登場する中小企業は、大企業とのレッドオーシャンでの競争を回避し、</a:t>
                      </a:r>
                      <a:r>
                        <a:rPr lang="ja-JP" altLang="en-US" sz="1600" b="1" u="sng" dirty="0"/>
                        <a:t>ニッチャーになる戦略を採る</a:t>
                      </a:r>
                      <a:r>
                        <a:rPr lang="ja-JP" altLang="en-US" sz="1600" dirty="0"/>
                        <a:t>ことが多い。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5091334"/>
                  </a:ext>
                </a:extLst>
              </a:tr>
              <a:tr h="75600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2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600" dirty="0"/>
                        <a:t>現状の問題点を指摘する書き方が望ましい。技術者が多いことや、</a:t>
                      </a:r>
                      <a:br>
                        <a:rPr lang="en-US" altLang="ja-JP" sz="1600" dirty="0"/>
                      </a:br>
                      <a:r>
                        <a:rPr lang="ja-JP" altLang="en-US" sz="1600" dirty="0"/>
                        <a:t>販売を外注している問題点（顧客接点の少なさ）に言及できるかがポイント</a:t>
                      </a:r>
                      <a:r>
                        <a:rPr kumimoji="1" lang="ja-JP" altLang="en-US" sz="1600" dirty="0"/>
                        <a:t>。</a:t>
                      </a:r>
                      <a:endParaRPr lang="en-US" altLang="ja-JP" sz="1600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4539875"/>
                  </a:ext>
                </a:extLst>
              </a:tr>
              <a:tr h="75600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3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ja-JP" altLang="en-US" sz="1600" dirty="0"/>
                        <a:t>文章が上手に作れなかった。</a:t>
                      </a:r>
                      <a:endParaRPr lang="en-US" altLang="ja-JP" sz="1600" dirty="0"/>
                    </a:p>
                    <a:p>
                      <a:r>
                        <a:rPr lang="ja-JP" altLang="en-US" sz="1600" dirty="0"/>
                        <a:t>２つの要素の対比は「</a:t>
                      </a:r>
                      <a:r>
                        <a:rPr lang="en-US" altLang="ja-JP" sz="1600" b="1" u="sng" dirty="0"/>
                        <a:t>A</a:t>
                      </a:r>
                      <a:r>
                        <a:rPr lang="ja-JP" altLang="en-US" sz="1600" b="1" u="sng" dirty="0"/>
                        <a:t>は～だった。一方、</a:t>
                      </a:r>
                      <a:r>
                        <a:rPr lang="en-US" altLang="ja-JP" sz="1600" b="1" u="sng" dirty="0"/>
                        <a:t>B</a:t>
                      </a:r>
                      <a:r>
                        <a:rPr lang="ja-JP" altLang="en-US" sz="1600" b="1" u="sng" dirty="0"/>
                        <a:t>は～である</a:t>
                      </a:r>
                      <a:r>
                        <a:rPr lang="ja-JP" altLang="en-US" sz="1600" dirty="0"/>
                        <a:t>」と書く。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6707367"/>
                  </a:ext>
                </a:extLst>
              </a:tr>
              <a:tr h="75600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4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ja-JP" altLang="en-US" sz="1600" dirty="0"/>
                        <a:t>組織改編の理由の定番は「</a:t>
                      </a:r>
                      <a:r>
                        <a:rPr lang="ja-JP" altLang="en-US" sz="1600" b="1" u="none" dirty="0">
                          <a:solidFill>
                            <a:srgbClr val="C41A30"/>
                          </a:solidFill>
                        </a:rPr>
                        <a:t>責任権限の明確化</a:t>
                      </a:r>
                      <a:r>
                        <a:rPr lang="ja-JP" altLang="en-US" sz="1600" u="none" dirty="0"/>
                        <a:t>」「</a:t>
                      </a:r>
                      <a:r>
                        <a:rPr lang="ja-JP" altLang="en-US" sz="1600" b="1" u="none" dirty="0">
                          <a:solidFill>
                            <a:srgbClr val="C41A30"/>
                          </a:solidFill>
                        </a:rPr>
                        <a:t>意思決定の迅速化</a:t>
                      </a:r>
                      <a:r>
                        <a:rPr lang="ja-JP" altLang="en-US" sz="1600" u="none" dirty="0"/>
                        <a:t>」</a:t>
                      </a:r>
                      <a:br>
                        <a:rPr lang="en-US" altLang="ja-JP" sz="1600" u="none" dirty="0"/>
                      </a:br>
                      <a:r>
                        <a:rPr lang="ja-JP" altLang="en-US" sz="1600" u="none" dirty="0"/>
                        <a:t>「</a:t>
                      </a:r>
                      <a:r>
                        <a:rPr lang="ja-JP" altLang="en-US" sz="1600" b="1" u="none" dirty="0">
                          <a:solidFill>
                            <a:srgbClr val="C41A30"/>
                          </a:solidFill>
                        </a:rPr>
                        <a:t>専門性を高める</a:t>
                      </a:r>
                      <a:r>
                        <a:rPr lang="ja-JP" altLang="en-US" sz="1600" dirty="0"/>
                        <a:t>」。何も思いつかなかったらとりあえずこれを書く。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8058962"/>
                  </a:ext>
                </a:extLst>
              </a:tr>
              <a:tr h="75600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dirty="0"/>
                        <a:t>5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ja-JP" altLang="en-US" sz="1600" dirty="0"/>
                        <a:t>定番の組織・人事施策。</a:t>
                      </a:r>
                      <a:r>
                        <a:rPr lang="ja-JP" altLang="en-US" sz="1600" b="0" u="none" dirty="0"/>
                        <a:t>権限移譲、研修、外部提携、社内ベンチャー、</a:t>
                      </a:r>
                      <a:br>
                        <a:rPr lang="en-US" altLang="ja-JP" sz="1600" b="0" u="none" dirty="0"/>
                      </a:br>
                      <a:r>
                        <a:rPr lang="en-US" altLang="ja-JP" sz="1600" b="0" u="none" dirty="0"/>
                        <a:t>OJT</a:t>
                      </a:r>
                      <a:r>
                        <a:rPr lang="ja-JP" altLang="en-US" sz="1600" b="0" u="none" dirty="0"/>
                        <a:t>、ジョブローテ、自己啓発支援などを列挙</a:t>
                      </a:r>
                      <a:r>
                        <a:rPr lang="ja-JP" altLang="en-US" sz="1600" dirty="0"/>
                        <a:t>すれば</a:t>
                      </a:r>
                      <a:r>
                        <a:rPr lang="en-US" altLang="ja-JP" sz="1600" dirty="0"/>
                        <a:t>OK</a:t>
                      </a:r>
                      <a:r>
                        <a:rPr lang="ja-JP" altLang="en-US" sz="1600" dirty="0"/>
                        <a:t>。</a:t>
                      </a:r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4948917"/>
                  </a:ext>
                </a:extLst>
              </a:tr>
            </a:tbl>
          </a:graphicData>
        </a:graphic>
      </p:graphicFrame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80E93062-7CE9-CF39-4F4E-96D52AF5EC1F}"/>
              </a:ext>
            </a:extLst>
          </p:cNvPr>
          <p:cNvSpPr txBox="1"/>
          <p:nvPr/>
        </p:nvSpPr>
        <p:spPr>
          <a:xfrm>
            <a:off x="682328" y="1754309"/>
            <a:ext cx="20884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b="1" dirty="0"/>
              <a:t>事例</a:t>
            </a:r>
            <a:r>
              <a:rPr lang="en-US" altLang="ja-JP" b="1" dirty="0"/>
              <a:t>Ⅰ</a:t>
            </a:r>
            <a:r>
              <a:rPr kumimoji="1" lang="en-US" altLang="ja-JP" b="1" dirty="0"/>
              <a:t>_2018</a:t>
            </a:r>
            <a:r>
              <a:rPr kumimoji="1" lang="ja-JP" altLang="en-US" b="1" dirty="0"/>
              <a:t>年度</a:t>
            </a:r>
          </a:p>
        </p:txBody>
      </p:sp>
    </p:spTree>
    <p:extLst>
      <p:ext uri="{BB962C8B-B14F-4D97-AF65-F5344CB8AC3E}">
        <p14:creationId xmlns:p14="http://schemas.microsoft.com/office/powerpoint/2010/main" val="10503040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8CC551AC-C476-9F69-B27C-A81568E66B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328" y="298046"/>
            <a:ext cx="8543925" cy="456669"/>
          </a:xfrm>
        </p:spPr>
        <p:txBody>
          <a:bodyPr/>
          <a:lstStyle/>
          <a:p>
            <a:r>
              <a:rPr kumimoji="1" lang="ja-JP" altLang="en-US" sz="2400" dirty="0"/>
              <a:t>全事例に共通する注意事項</a:t>
            </a:r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E5B6C750-06FB-6C01-A6DC-C992A51C98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F52EA5-8B9E-4767-87D1-0AECA1F41472}" type="slidenum">
              <a:rPr lang="ja-JP" altLang="en-US" smtClean="0"/>
              <a:pPr/>
              <a:t>7</a:t>
            </a:fld>
            <a:endParaRPr lang="ja-JP" altLang="en-US"/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D5F6769F-A1EF-4F4C-3EF4-887D5E1AE869}"/>
              </a:ext>
            </a:extLst>
          </p:cNvPr>
          <p:cNvSpPr txBox="1">
            <a:spLocks/>
          </p:cNvSpPr>
          <p:nvPr/>
        </p:nvSpPr>
        <p:spPr>
          <a:xfrm>
            <a:off x="682328" y="942496"/>
            <a:ext cx="8543925" cy="697338"/>
          </a:xfrm>
          <a:prstGeom prst="rect">
            <a:avLst/>
          </a:prstGeom>
        </p:spPr>
        <p:txBody>
          <a:bodyPr anchor="ctr"/>
          <a:lstStyle>
            <a:lvl1pPr algn="l" defTabSz="742950" rtl="0" eaLnBrk="1" latinLnBrk="0" hangingPunct="1">
              <a:lnSpc>
                <a:spcPts val="2600"/>
              </a:lnSpc>
              <a:spcBef>
                <a:spcPts val="600"/>
              </a:spcBef>
              <a:buNone/>
              <a:defRPr kumimoji="1" sz="2000" b="1" kern="120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+mj-cs"/>
              </a:defRPr>
            </a:lvl1pPr>
          </a:lstStyle>
          <a:p>
            <a:pPr>
              <a:lnSpc>
                <a:spcPts val="2400"/>
              </a:lnSpc>
              <a:spcBef>
                <a:spcPts val="300"/>
              </a:spcBef>
            </a:pPr>
            <a:r>
              <a:rPr lang="ja-JP" altLang="en-US" sz="1800" b="0" dirty="0"/>
              <a:t>演習を重ねると、どのような事例にも共通する注意事項に気づくはずです。</a:t>
            </a:r>
            <a:endParaRPr lang="en-US" altLang="ja-JP" sz="1800" b="0" dirty="0"/>
          </a:p>
          <a:p>
            <a:pPr>
              <a:lnSpc>
                <a:spcPts val="2400"/>
              </a:lnSpc>
              <a:spcBef>
                <a:spcPts val="300"/>
              </a:spcBef>
            </a:pPr>
            <a:r>
              <a:rPr lang="ja-JP" altLang="en-US" sz="1800" b="0" dirty="0"/>
              <a:t>そうした気づきをまとめましょう。</a:t>
            </a:r>
            <a:endParaRPr lang="en-US" altLang="ja-JP" sz="1800" b="0" dirty="0"/>
          </a:p>
        </p:txBody>
      </p:sp>
      <p:graphicFrame>
        <p:nvGraphicFramePr>
          <p:cNvPr id="7" name="表 6">
            <a:extLst>
              <a:ext uri="{FF2B5EF4-FFF2-40B4-BE49-F238E27FC236}">
                <a16:creationId xmlns:a16="http://schemas.microsoft.com/office/drawing/2014/main" id="{06613B5B-F68E-E616-EDFD-97BD71F043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0290574"/>
              </p:ext>
            </p:extLst>
          </p:nvPr>
        </p:nvGraphicFramePr>
        <p:xfrm>
          <a:off x="682328" y="2281055"/>
          <a:ext cx="8543925" cy="414635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543925">
                  <a:extLst>
                    <a:ext uri="{9D8B030D-6E8A-4147-A177-3AD203B41FA5}">
                      <a16:colId xmlns:a16="http://schemas.microsoft.com/office/drawing/2014/main" val="114225766"/>
                    </a:ext>
                  </a:extLst>
                </a:gridCol>
              </a:tblGrid>
              <a:tr h="366350"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</a:pPr>
                      <a:r>
                        <a:rPr kumimoji="1" lang="ja-JP" altLang="en-US" b="1" dirty="0">
                          <a:solidFill>
                            <a:schemeClr val="bg1"/>
                          </a:solidFill>
                        </a:rPr>
                        <a:t>注意事項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698200"/>
                  </a:ext>
                </a:extLst>
              </a:tr>
              <a:tr h="3780000">
                <a:tc>
                  <a:txBody>
                    <a:bodyPr/>
                    <a:lstStyle/>
                    <a:p>
                      <a:pPr marL="285750" indent="-285750">
                        <a:lnSpc>
                          <a:spcPts val="2200"/>
                        </a:lnSpc>
                        <a:spcAft>
                          <a:spcPts val="30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kumimoji="1" lang="en-US" altLang="ja-JP" sz="1600" dirty="0"/>
                        <a:t>XXX</a:t>
                      </a:r>
                    </a:p>
                    <a:p>
                      <a:pPr marL="285750" indent="-285750">
                        <a:lnSpc>
                          <a:spcPts val="2200"/>
                        </a:lnSpc>
                        <a:spcAft>
                          <a:spcPts val="30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kumimoji="1" lang="en-US" altLang="ja-JP" sz="1600" dirty="0"/>
                        <a:t>XXX</a:t>
                      </a:r>
                    </a:p>
                    <a:p>
                      <a:pPr marL="285750" indent="-285750">
                        <a:lnSpc>
                          <a:spcPts val="2200"/>
                        </a:lnSpc>
                        <a:spcAft>
                          <a:spcPts val="30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kumimoji="1" lang="en-US" altLang="ja-JP" sz="1600" dirty="0"/>
                        <a:t>XXX</a:t>
                      </a:r>
                    </a:p>
                  </a:txBody>
                  <a:tcPr marL="137160" marR="137160" marT="137160" marB="137160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50913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707198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8CC551AC-C476-9F69-B27C-A81568E66B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328" y="298046"/>
            <a:ext cx="8543925" cy="456669"/>
          </a:xfrm>
        </p:spPr>
        <p:txBody>
          <a:bodyPr/>
          <a:lstStyle/>
          <a:p>
            <a:r>
              <a:rPr kumimoji="1" lang="ja-JP" altLang="en-US" sz="2400" dirty="0"/>
              <a:t>全事例に共通する注意事項</a:t>
            </a:r>
            <a:r>
              <a:rPr kumimoji="1" lang="en-US" altLang="ja-JP" sz="2400" dirty="0">
                <a:highlight>
                  <a:srgbClr val="FFFF00"/>
                </a:highlight>
              </a:rPr>
              <a:t>【</a:t>
            </a:r>
            <a:r>
              <a:rPr kumimoji="1" lang="ja-JP" altLang="en-US" sz="2400" dirty="0">
                <a:highlight>
                  <a:srgbClr val="FFFF00"/>
                </a:highlight>
              </a:rPr>
              <a:t>記入例</a:t>
            </a:r>
            <a:r>
              <a:rPr kumimoji="1" lang="en-US" altLang="ja-JP" sz="2400" dirty="0">
                <a:highlight>
                  <a:srgbClr val="FFFF00"/>
                </a:highlight>
              </a:rPr>
              <a:t>】</a:t>
            </a:r>
            <a:endParaRPr kumimoji="1" lang="ja-JP" altLang="en-US" sz="2400" dirty="0">
              <a:highlight>
                <a:srgbClr val="FFFF00"/>
              </a:highlight>
            </a:endParaRPr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E5B6C750-06FB-6C01-A6DC-C992A51C98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F52EA5-8B9E-4767-87D1-0AECA1F41472}" type="slidenum">
              <a:rPr lang="ja-JP" altLang="en-US" smtClean="0"/>
              <a:pPr/>
              <a:t>8</a:t>
            </a:fld>
            <a:endParaRPr lang="ja-JP" altLang="en-US"/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D5F6769F-A1EF-4F4C-3EF4-887D5E1AE869}"/>
              </a:ext>
            </a:extLst>
          </p:cNvPr>
          <p:cNvSpPr txBox="1">
            <a:spLocks/>
          </p:cNvSpPr>
          <p:nvPr/>
        </p:nvSpPr>
        <p:spPr>
          <a:xfrm>
            <a:off x="682328" y="942496"/>
            <a:ext cx="8543925" cy="697338"/>
          </a:xfrm>
          <a:prstGeom prst="rect">
            <a:avLst/>
          </a:prstGeom>
        </p:spPr>
        <p:txBody>
          <a:bodyPr anchor="ctr"/>
          <a:lstStyle>
            <a:lvl1pPr algn="l" defTabSz="742950" rtl="0" eaLnBrk="1" latinLnBrk="0" hangingPunct="1">
              <a:lnSpc>
                <a:spcPts val="2600"/>
              </a:lnSpc>
              <a:spcBef>
                <a:spcPts val="600"/>
              </a:spcBef>
              <a:buNone/>
              <a:defRPr kumimoji="1" sz="2000" b="1" kern="120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+mj-cs"/>
              </a:defRPr>
            </a:lvl1pPr>
          </a:lstStyle>
          <a:p>
            <a:pPr>
              <a:lnSpc>
                <a:spcPts val="2400"/>
              </a:lnSpc>
              <a:spcBef>
                <a:spcPts val="300"/>
              </a:spcBef>
            </a:pPr>
            <a:r>
              <a:rPr lang="ja-JP" altLang="en-US" sz="1800" b="0" dirty="0"/>
              <a:t>演習を重ねると、どのような事例にも共通する注意事項に気づくはずです。</a:t>
            </a:r>
            <a:endParaRPr lang="en-US" altLang="ja-JP" sz="1800" b="0" dirty="0"/>
          </a:p>
          <a:p>
            <a:pPr>
              <a:lnSpc>
                <a:spcPts val="2400"/>
              </a:lnSpc>
              <a:spcBef>
                <a:spcPts val="300"/>
              </a:spcBef>
            </a:pPr>
            <a:r>
              <a:rPr lang="ja-JP" altLang="en-US" sz="1800" b="0" dirty="0"/>
              <a:t>そうした気づきをまとめましょう。</a:t>
            </a:r>
            <a:endParaRPr lang="en-US" altLang="ja-JP" sz="1800" b="0" dirty="0"/>
          </a:p>
        </p:txBody>
      </p:sp>
      <p:graphicFrame>
        <p:nvGraphicFramePr>
          <p:cNvPr id="4" name="表 3">
            <a:extLst>
              <a:ext uri="{FF2B5EF4-FFF2-40B4-BE49-F238E27FC236}">
                <a16:creationId xmlns:a16="http://schemas.microsoft.com/office/drawing/2014/main" id="{8A4E7ED2-0C57-ABDE-0C0D-7301C571EE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1547359"/>
              </p:ext>
            </p:extLst>
          </p:nvPr>
        </p:nvGraphicFramePr>
        <p:xfrm>
          <a:off x="682328" y="2281055"/>
          <a:ext cx="8543925" cy="414635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543925">
                  <a:extLst>
                    <a:ext uri="{9D8B030D-6E8A-4147-A177-3AD203B41FA5}">
                      <a16:colId xmlns:a16="http://schemas.microsoft.com/office/drawing/2014/main" val="114225766"/>
                    </a:ext>
                  </a:extLst>
                </a:gridCol>
              </a:tblGrid>
              <a:tr h="366350"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</a:pPr>
                      <a:r>
                        <a:rPr kumimoji="1" lang="ja-JP" altLang="en-US" b="1" dirty="0">
                          <a:solidFill>
                            <a:schemeClr val="bg1"/>
                          </a:solidFill>
                        </a:rPr>
                        <a:t>注意事項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698200"/>
                  </a:ext>
                </a:extLst>
              </a:tr>
              <a:tr h="3780000">
                <a:tc>
                  <a:txBody>
                    <a:bodyPr/>
                    <a:lstStyle/>
                    <a:p>
                      <a:pPr marL="285750" indent="-285750">
                        <a:lnSpc>
                          <a:spcPts val="2200"/>
                        </a:lnSpc>
                        <a:spcAft>
                          <a:spcPts val="30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kumimoji="1" lang="ja-JP" altLang="en-US" sz="1600" dirty="0"/>
                        <a:t>与件文に忠実に答える</a:t>
                      </a:r>
                      <a:endParaRPr kumimoji="1" lang="en-US" altLang="ja-JP" sz="1600" dirty="0"/>
                    </a:p>
                    <a:p>
                      <a:pPr marL="285750" indent="-285750">
                        <a:lnSpc>
                          <a:spcPts val="2200"/>
                        </a:lnSpc>
                        <a:spcAft>
                          <a:spcPts val="30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kumimoji="1" lang="ja-JP" altLang="en-US" sz="1600" dirty="0"/>
                        <a:t>オウム返し（設問で聞かれた事項にまっすぐ答える）を徹底する</a:t>
                      </a:r>
                      <a:endParaRPr kumimoji="1" lang="en-US" altLang="ja-JP" sz="1600" dirty="0"/>
                    </a:p>
                    <a:p>
                      <a:pPr marL="285750" indent="-285750">
                        <a:lnSpc>
                          <a:spcPts val="2200"/>
                        </a:lnSpc>
                        <a:spcAft>
                          <a:spcPts val="30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kumimoji="1" lang="ja-JP" altLang="en-US" sz="1600" dirty="0"/>
                        <a:t>凝った解答は書かない。特に、自分の経験を書くのは厳禁</a:t>
                      </a:r>
                      <a:endParaRPr kumimoji="1" lang="en-US" altLang="ja-JP" sz="1600" dirty="0"/>
                    </a:p>
                    <a:p>
                      <a:pPr marL="285750" indent="-285750">
                        <a:lnSpc>
                          <a:spcPts val="2200"/>
                        </a:lnSpc>
                        <a:spcAft>
                          <a:spcPts val="30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kumimoji="1" lang="ja-JP" altLang="en-US" sz="1600" dirty="0"/>
                        <a:t>キーワードを多く入れ、リスクの低い解答を作る</a:t>
                      </a:r>
                      <a:endParaRPr kumimoji="1" lang="en-US" altLang="ja-JP" sz="1600" dirty="0"/>
                    </a:p>
                    <a:p>
                      <a:pPr marL="285750" indent="-285750">
                        <a:lnSpc>
                          <a:spcPts val="2200"/>
                        </a:lnSpc>
                        <a:spcAft>
                          <a:spcPts val="30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kumimoji="1" lang="ja-JP" altLang="en-US" sz="1600" dirty="0"/>
                        <a:t>論理が破綻しておらず、一読して意味が伝わる文章を書く</a:t>
                      </a:r>
                      <a:endParaRPr kumimoji="1" lang="en-US" altLang="ja-JP" sz="1600" dirty="0"/>
                    </a:p>
                    <a:p>
                      <a:pPr marL="285750" indent="-285750">
                        <a:lnSpc>
                          <a:spcPts val="2200"/>
                        </a:lnSpc>
                        <a:spcAft>
                          <a:spcPts val="30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kumimoji="1" lang="ja-JP" altLang="en-US" sz="1600" dirty="0"/>
                        <a:t>「どのような点に留意すべきか？」は施策を答える</a:t>
                      </a:r>
                      <a:endParaRPr kumimoji="1" lang="en-US" altLang="ja-JP" sz="1600" dirty="0"/>
                    </a:p>
                    <a:p>
                      <a:pPr marL="285750" indent="-285750">
                        <a:lnSpc>
                          <a:spcPts val="2200"/>
                        </a:lnSpc>
                        <a:spcAft>
                          <a:spcPts val="30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kumimoji="1" lang="ja-JP" altLang="en-US" sz="1600" dirty="0"/>
                        <a:t>施策を答える問題では、期待効果を付記する</a:t>
                      </a:r>
                      <a:endParaRPr kumimoji="1" lang="en-US" altLang="ja-JP" sz="1600" dirty="0"/>
                    </a:p>
                    <a:p>
                      <a:pPr marL="285750" indent="-285750">
                        <a:lnSpc>
                          <a:spcPts val="2200"/>
                        </a:lnSpc>
                        <a:spcAft>
                          <a:spcPts val="30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kumimoji="1" lang="ja-JP" altLang="en-US" sz="1600" dirty="0"/>
                        <a:t>解答手順、時間配分は固定し、再現性を高める</a:t>
                      </a:r>
                      <a:endParaRPr kumimoji="1" lang="en-US" altLang="ja-JP" sz="1600" dirty="0"/>
                    </a:p>
                    <a:p>
                      <a:pPr marL="285750" indent="-285750">
                        <a:lnSpc>
                          <a:spcPts val="2200"/>
                        </a:lnSpc>
                        <a:spcAft>
                          <a:spcPts val="30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kumimoji="1" lang="ja-JP" altLang="en-US" sz="1600" dirty="0"/>
                        <a:t>句読点を雑に扱わない</a:t>
                      </a:r>
                      <a:endParaRPr kumimoji="1" lang="en-US" altLang="ja-JP" sz="1600" dirty="0"/>
                    </a:p>
                    <a:p>
                      <a:pPr marL="285750" indent="-285750">
                        <a:lnSpc>
                          <a:spcPts val="2200"/>
                        </a:lnSpc>
                        <a:spcAft>
                          <a:spcPts val="30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kumimoji="1" lang="ja-JP" altLang="en-US" sz="1600" dirty="0"/>
                        <a:t>難易度の低い設問（パターン問題）から解く（リズムをつける）</a:t>
                      </a:r>
                      <a:endParaRPr kumimoji="1" lang="en-US" altLang="ja-JP" sz="1600" dirty="0"/>
                    </a:p>
                    <a:p>
                      <a:pPr marL="285750" indent="-285750">
                        <a:lnSpc>
                          <a:spcPts val="2200"/>
                        </a:lnSpc>
                        <a:spcAft>
                          <a:spcPts val="30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kumimoji="1" lang="ja-JP" altLang="en-US" sz="1600" dirty="0"/>
                        <a:t>前の事例の出来が悪くても、ネガティブな気持ちを引きずらない</a:t>
                      </a:r>
                      <a:endParaRPr kumimoji="1" lang="en-US" altLang="ja-JP" sz="1600" dirty="0"/>
                    </a:p>
                  </a:txBody>
                  <a:tcPr marL="137160" marR="137160" marT="137160" marB="137160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50913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169600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8CC551AC-C476-9F69-B27C-A81568E66B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328" y="298046"/>
            <a:ext cx="8543925" cy="456669"/>
          </a:xfrm>
        </p:spPr>
        <p:txBody>
          <a:bodyPr/>
          <a:lstStyle/>
          <a:p>
            <a:r>
              <a:rPr kumimoji="1" lang="ja-JP" altLang="en-US" sz="2400" dirty="0"/>
              <a:t>基礎知識集</a:t>
            </a:r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E5B6C750-06FB-6C01-A6DC-C992A51C98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F52EA5-8B9E-4767-87D1-0AECA1F41472}" type="slidenum">
              <a:rPr lang="ja-JP" altLang="en-US" smtClean="0"/>
              <a:pPr/>
              <a:t>9</a:t>
            </a:fld>
            <a:endParaRPr lang="ja-JP" altLang="en-US"/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D5F6769F-A1EF-4F4C-3EF4-887D5E1AE869}"/>
              </a:ext>
            </a:extLst>
          </p:cNvPr>
          <p:cNvSpPr txBox="1">
            <a:spLocks/>
          </p:cNvSpPr>
          <p:nvPr/>
        </p:nvSpPr>
        <p:spPr>
          <a:xfrm>
            <a:off x="682328" y="942496"/>
            <a:ext cx="8543925" cy="697338"/>
          </a:xfrm>
          <a:prstGeom prst="rect">
            <a:avLst/>
          </a:prstGeom>
        </p:spPr>
        <p:txBody>
          <a:bodyPr anchor="ctr"/>
          <a:lstStyle>
            <a:lvl1pPr algn="l" defTabSz="742950" rtl="0" eaLnBrk="1" latinLnBrk="0" hangingPunct="1">
              <a:lnSpc>
                <a:spcPts val="2600"/>
              </a:lnSpc>
              <a:spcBef>
                <a:spcPts val="600"/>
              </a:spcBef>
              <a:buNone/>
              <a:defRPr kumimoji="1" sz="2000" b="1" kern="120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+mj-cs"/>
              </a:defRPr>
            </a:lvl1pPr>
          </a:lstStyle>
          <a:p>
            <a:pPr>
              <a:lnSpc>
                <a:spcPts val="2400"/>
              </a:lnSpc>
              <a:spcBef>
                <a:spcPts val="300"/>
              </a:spcBef>
            </a:pPr>
            <a:r>
              <a:rPr lang="ja-JP" altLang="en-US" sz="1800" b="0" dirty="0"/>
              <a:t>事例ごとに「この知識、よく出てくるな」と感じるポイントが見つかります。</a:t>
            </a:r>
            <a:endParaRPr lang="en-US" altLang="ja-JP" sz="1800" b="0" dirty="0"/>
          </a:p>
          <a:p>
            <a:pPr>
              <a:lnSpc>
                <a:spcPts val="2400"/>
              </a:lnSpc>
              <a:spcBef>
                <a:spcPts val="300"/>
              </a:spcBef>
            </a:pPr>
            <a:r>
              <a:rPr lang="ja-JP" altLang="en-US" sz="1800" b="0" dirty="0"/>
              <a:t>それらをまとめましょう。自分で整理することで記憶が定着します。</a:t>
            </a:r>
            <a:endParaRPr lang="en-US" altLang="ja-JP" sz="1800" b="0" dirty="0"/>
          </a:p>
        </p:txBody>
      </p:sp>
      <p:graphicFrame>
        <p:nvGraphicFramePr>
          <p:cNvPr id="3" name="表 2">
            <a:extLst>
              <a:ext uri="{FF2B5EF4-FFF2-40B4-BE49-F238E27FC236}">
                <a16:creationId xmlns:a16="http://schemas.microsoft.com/office/drawing/2014/main" id="{7694B83C-1E4C-ED4F-8BBD-A9A03A0094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2437529"/>
              </p:ext>
            </p:extLst>
          </p:nvPr>
        </p:nvGraphicFramePr>
        <p:xfrm>
          <a:off x="682328" y="1827615"/>
          <a:ext cx="8375948" cy="45127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032508">
                  <a:extLst>
                    <a:ext uri="{9D8B030D-6E8A-4147-A177-3AD203B41FA5}">
                      <a16:colId xmlns:a16="http://schemas.microsoft.com/office/drawing/2014/main" val="578762427"/>
                    </a:ext>
                  </a:extLst>
                </a:gridCol>
                <a:gridCol w="585860">
                  <a:extLst>
                    <a:ext uri="{9D8B030D-6E8A-4147-A177-3AD203B41FA5}">
                      <a16:colId xmlns:a16="http://schemas.microsoft.com/office/drawing/2014/main" val="114225766"/>
                    </a:ext>
                  </a:extLst>
                </a:gridCol>
                <a:gridCol w="585860">
                  <a:extLst>
                    <a:ext uri="{9D8B030D-6E8A-4147-A177-3AD203B41FA5}">
                      <a16:colId xmlns:a16="http://schemas.microsoft.com/office/drawing/2014/main" val="2523685365"/>
                    </a:ext>
                  </a:extLst>
                </a:gridCol>
                <a:gridCol w="585860">
                  <a:extLst>
                    <a:ext uri="{9D8B030D-6E8A-4147-A177-3AD203B41FA5}">
                      <a16:colId xmlns:a16="http://schemas.microsoft.com/office/drawing/2014/main" val="3677432837"/>
                    </a:ext>
                  </a:extLst>
                </a:gridCol>
                <a:gridCol w="585860">
                  <a:extLst>
                    <a:ext uri="{9D8B030D-6E8A-4147-A177-3AD203B41FA5}">
                      <a16:colId xmlns:a16="http://schemas.microsoft.com/office/drawing/2014/main" val="1324570367"/>
                    </a:ext>
                  </a:extLst>
                </a:gridCol>
              </a:tblGrid>
              <a:tr h="366350"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b="1" dirty="0">
                          <a:solidFill>
                            <a:schemeClr val="bg1"/>
                          </a:solidFill>
                        </a:rPr>
                        <a:t>よく使う知識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kumimoji="1" lang="ja-JP" altLang="en-US" b="1" dirty="0">
                          <a:solidFill>
                            <a:schemeClr val="bg1"/>
                          </a:solidFill>
                        </a:rPr>
                        <a:t>使う事例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4698200"/>
                  </a:ext>
                </a:extLst>
              </a:tr>
              <a:tr h="366350">
                <a:tc vMerge="1">
                  <a:txBody>
                    <a:bodyPr/>
                    <a:lstStyle/>
                    <a:p>
                      <a:pPr algn="ctr"/>
                      <a:endParaRPr kumimoji="1" lang="ja-JP" altLang="en-US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b="1" dirty="0">
                          <a:solidFill>
                            <a:schemeClr val="bg1"/>
                          </a:solidFill>
                        </a:rPr>
                        <a:t>Ⅰ</a:t>
                      </a:r>
                      <a:endParaRPr kumimoji="1" lang="ja-JP" altLang="en-US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b="1" dirty="0">
                          <a:solidFill>
                            <a:schemeClr val="bg1"/>
                          </a:solidFill>
                        </a:rPr>
                        <a:t>Ⅱ</a:t>
                      </a:r>
                      <a:endParaRPr kumimoji="1" lang="ja-JP" altLang="en-US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b="1" dirty="0">
                          <a:solidFill>
                            <a:schemeClr val="bg1"/>
                          </a:solidFill>
                        </a:rPr>
                        <a:t>Ⅲ</a:t>
                      </a:r>
                      <a:endParaRPr kumimoji="1" lang="ja-JP" altLang="en-US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b="1" dirty="0">
                          <a:solidFill>
                            <a:schemeClr val="bg1"/>
                          </a:solidFill>
                        </a:rPr>
                        <a:t>Ⅳ</a:t>
                      </a:r>
                      <a:endParaRPr kumimoji="1" lang="ja-JP" altLang="en-US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3276343"/>
                  </a:ext>
                </a:extLst>
              </a:tr>
              <a:tr h="378000">
                <a:tc>
                  <a:txBody>
                    <a:bodyPr/>
                    <a:lstStyle/>
                    <a:p>
                      <a:pPr algn="l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5091334"/>
                  </a:ext>
                </a:extLst>
              </a:tr>
              <a:tr h="378000">
                <a:tc>
                  <a:txBody>
                    <a:bodyPr/>
                    <a:lstStyle/>
                    <a:p>
                      <a:pPr algn="l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72092827"/>
                  </a:ext>
                </a:extLst>
              </a:tr>
              <a:tr h="378000">
                <a:tc>
                  <a:txBody>
                    <a:bodyPr/>
                    <a:lstStyle/>
                    <a:p>
                      <a:pPr algn="l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4539875"/>
                  </a:ext>
                </a:extLst>
              </a:tr>
              <a:tr h="378000">
                <a:tc>
                  <a:txBody>
                    <a:bodyPr/>
                    <a:lstStyle/>
                    <a:p>
                      <a:pPr algn="l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6410462"/>
                  </a:ext>
                </a:extLst>
              </a:tr>
              <a:tr h="378000">
                <a:tc>
                  <a:txBody>
                    <a:bodyPr/>
                    <a:lstStyle/>
                    <a:p>
                      <a:pPr algn="l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6707367"/>
                  </a:ext>
                </a:extLst>
              </a:tr>
              <a:tr h="378000">
                <a:tc>
                  <a:txBody>
                    <a:bodyPr/>
                    <a:lstStyle/>
                    <a:p>
                      <a:pPr algn="l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2372183"/>
                  </a:ext>
                </a:extLst>
              </a:tr>
              <a:tr h="378000">
                <a:tc>
                  <a:txBody>
                    <a:bodyPr/>
                    <a:lstStyle/>
                    <a:p>
                      <a:pPr algn="l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8058962"/>
                  </a:ext>
                </a:extLst>
              </a:tr>
              <a:tr h="378000">
                <a:tc>
                  <a:txBody>
                    <a:bodyPr/>
                    <a:lstStyle/>
                    <a:p>
                      <a:pPr algn="l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3692571"/>
                  </a:ext>
                </a:extLst>
              </a:tr>
              <a:tr h="378000">
                <a:tc>
                  <a:txBody>
                    <a:bodyPr/>
                    <a:lstStyle/>
                    <a:p>
                      <a:pPr algn="l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4948917"/>
                  </a:ext>
                </a:extLst>
              </a:tr>
              <a:tr h="378000">
                <a:tc>
                  <a:txBody>
                    <a:bodyPr/>
                    <a:lstStyle/>
                    <a:p>
                      <a:pPr algn="l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dirty="0"/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5007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349159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1F2OHlTYq3LaNY6jMbj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Ox3_qQRMitmKx_Y_qD3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ユーザー定義 1">
      <a:majorFont>
        <a:latin typeface="Century Gothic"/>
        <a:ea typeface="BIZ UDPゴシック"/>
        <a:cs typeface=""/>
      </a:majorFont>
      <a:minorFont>
        <a:latin typeface="Century Gothic"/>
        <a:ea typeface="BIZ UDP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572</TotalTime>
  <Words>825</Words>
  <Application>Microsoft Office PowerPoint</Application>
  <PresentationFormat>A4 210 x 297 mm</PresentationFormat>
  <Paragraphs>153</Paragraphs>
  <Slides>9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9</vt:i4>
      </vt:variant>
    </vt:vector>
  </HeadingPairs>
  <TitlesOfParts>
    <vt:vector size="16" baseType="lpstr">
      <vt:lpstr>BIZ UDPゴシック</vt:lpstr>
      <vt:lpstr>ＭＳ Ｐゴシック</vt:lpstr>
      <vt:lpstr>游ゴシック</vt:lpstr>
      <vt:lpstr>Arial</vt:lpstr>
      <vt:lpstr>Wingdings</vt:lpstr>
      <vt:lpstr>Office テーマ</vt:lpstr>
      <vt:lpstr>think-cell スライド</vt:lpstr>
      <vt:lpstr>ファイナルペーパー（テンプレート）</vt:lpstr>
      <vt:lpstr>自分の解答手順・時間配分</vt:lpstr>
      <vt:lpstr>自分の解答手順・時間配分【記入例】</vt:lpstr>
      <vt:lpstr>演習スケジュール</vt:lpstr>
      <vt:lpstr>答案の改善点</vt:lpstr>
      <vt:lpstr>答案の改善点【記入例】</vt:lpstr>
      <vt:lpstr>全事例に共通する注意事項</vt:lpstr>
      <vt:lpstr>全事例に共通する注意事項【記入例】</vt:lpstr>
      <vt:lpstr>基礎知識集</vt:lpstr>
    </vt:vector>
  </TitlesOfParts>
  <Company>DT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Kagetsu ryo</dc:creator>
  <cp:lastModifiedBy>諒 花月</cp:lastModifiedBy>
  <cp:revision>1627</cp:revision>
  <dcterms:created xsi:type="dcterms:W3CDTF">2020-02-27T04:02:08Z</dcterms:created>
  <dcterms:modified xsi:type="dcterms:W3CDTF">2024-03-10T01:31:12Z</dcterms:modified>
</cp:coreProperties>
</file>